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24" r:id="rId2"/>
  </p:sldMasterIdLst>
  <p:notesMasterIdLst>
    <p:notesMasterId r:id="rId8"/>
  </p:notesMasterIdLst>
  <p:sldIdLst>
    <p:sldId id="256" r:id="rId3"/>
    <p:sldId id="1423" r:id="rId4"/>
    <p:sldId id="1432" r:id="rId5"/>
    <p:sldId id="1433" r:id="rId6"/>
    <p:sldId id="382" r:id="rId7"/>
  </p:sldIdLst>
  <p:sldSz cx="9144000" cy="6858000" type="screen4x3"/>
  <p:notesSz cx="7315200" cy="96012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t" initials="MU" lastIdx="3" clrIdx="0">
    <p:extLst>
      <p:ext uri="{19B8F6BF-5375-455C-9EA6-DF929625EA0E}">
        <p15:presenceInfo xmlns:p15="http://schemas.microsoft.com/office/powerpoint/2012/main" userId="Matt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3852" autoAdjust="0"/>
  </p:normalViewPr>
  <p:slideViewPr>
    <p:cSldViewPr snapToGrid="0">
      <p:cViewPr>
        <p:scale>
          <a:sx n="66" d="100"/>
          <a:sy n="66" d="100"/>
        </p:scale>
        <p:origin x="1446" y="15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63D3A9C3-235A-4F8E-8633-F9F6343EF4E2}" type="datetimeFigureOut">
              <a:rPr lang="en-US" smtClean="0"/>
              <a:t>10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97013" y="1200150"/>
            <a:ext cx="4321175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6BC2543D-FCA4-4CBE-BC08-FFE789515A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3044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C2543D-FCA4-4CBE-BC08-FFE789515A9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760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4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4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4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4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4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4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4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4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4.emf"/><Relationship Id="rId2" Type="http://schemas.openxmlformats.org/officeDocument/2006/relationships/tags" Target="../tags/tag4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4.emf"/><Relationship Id="rId2" Type="http://schemas.openxmlformats.org/officeDocument/2006/relationships/tags" Target="../tags/tag5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4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4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4.emf"/><Relationship Id="rId2" Type="http://schemas.openxmlformats.org/officeDocument/2006/relationships/tags" Target="../tags/tag6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4.emf"/><Relationship Id="rId2" Type="http://schemas.openxmlformats.org/officeDocument/2006/relationships/tags" Target="../tags/tag6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jp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jpg"/><Relationship Id="rId4" Type="http://schemas.openxmlformats.org/officeDocument/2006/relationships/image" Target="../media/image8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8638" y="1130675"/>
            <a:ext cx="7182818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5838" y="3610350"/>
            <a:ext cx="633778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2E780-9EEF-463A-AF2F-9971DC6BD376}" type="datetime1">
              <a:rPr lang="en-US" smtClean="0"/>
              <a:t>10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NEP FI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E7D68F1-A257-47B0-A722-6C6D8A89FB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90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65D1-43C0-49B4-BFFD-F726663EC40D}" type="datetime1">
              <a:rPr lang="en-US" smtClean="0"/>
              <a:t>10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NEP FI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D68F1-A257-47B0-A722-6C6D8A89FB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757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862032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98638" y="365125"/>
            <a:ext cx="5300662" cy="5811838"/>
          </a:xfrm>
        </p:spPr>
        <p:txBody>
          <a:bodyPr vert="eaVert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B528B-278C-492F-BAC7-166C75F54D54}" type="datetime1">
              <a:rPr lang="en-US" smtClean="0"/>
              <a:t>10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NEP FI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D68F1-A257-47B0-A722-6C6D8A89FB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55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ABC4C54-664B-4897-AC58-BA6ECA05B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ABC4C54-664B-4897-AC58-BA6ECA05B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048" y="3692"/>
            <a:ext cx="9142953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7" name="Freeform 15">
            <a:extLst>
              <a:ext uri="{FF2B5EF4-FFF2-40B4-BE49-F238E27FC236}">
                <a16:creationId xmlns:a16="http://schemas.microsoft.com/office/drawing/2014/main" id="{4798F77A-362B-4A65-9C1C-5470A83FD79D}"/>
              </a:ext>
            </a:extLst>
          </p:cNvPr>
          <p:cNvSpPr/>
          <p:nvPr userDrawn="1"/>
        </p:nvSpPr>
        <p:spPr>
          <a:xfrm>
            <a:off x="-5141" y="-10048"/>
            <a:ext cx="8496281" cy="6868049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0 w 8510462"/>
              <a:gd name="connsiteY0" fmla="*/ 0 h 5164627"/>
              <a:gd name="connsiteX1" fmla="*/ 8510462 w 8510462"/>
              <a:gd name="connsiteY1" fmla="*/ 8967 h 5164627"/>
              <a:gd name="connsiteX2" fmla="*/ 4298385 w 8510462"/>
              <a:gd name="connsiteY2" fmla="*/ 5164627 h 5164627"/>
              <a:gd name="connsiteX3" fmla="*/ 16214 w 8510462"/>
              <a:gd name="connsiteY3" fmla="*/ 5164627 h 5164627"/>
              <a:gd name="connsiteX4" fmla="*/ 13639 w 8510462"/>
              <a:gd name="connsiteY4" fmla="*/ 3991005 h 5164627"/>
              <a:gd name="connsiteX5" fmla="*/ 0 w 8510462"/>
              <a:gd name="connsiteY5" fmla="*/ 0 h 5164627"/>
              <a:gd name="connsiteX0" fmla="*/ 0 w 8501525"/>
              <a:gd name="connsiteY0" fmla="*/ 0 h 5164627"/>
              <a:gd name="connsiteX1" fmla="*/ 8501525 w 8501525"/>
              <a:gd name="connsiteY1" fmla="*/ 8967 h 5164627"/>
              <a:gd name="connsiteX2" fmla="*/ 4289448 w 8501525"/>
              <a:gd name="connsiteY2" fmla="*/ 5164627 h 5164627"/>
              <a:gd name="connsiteX3" fmla="*/ 7277 w 8501525"/>
              <a:gd name="connsiteY3" fmla="*/ 5164627 h 5164627"/>
              <a:gd name="connsiteX4" fmla="*/ 4702 w 8501525"/>
              <a:gd name="connsiteY4" fmla="*/ 3991005 h 5164627"/>
              <a:gd name="connsiteX5" fmla="*/ 0 w 8501525"/>
              <a:gd name="connsiteY5" fmla="*/ 0 h 5164627"/>
              <a:gd name="connsiteX0" fmla="*/ 17287 w 8497362"/>
              <a:gd name="connsiteY0" fmla="*/ 14271 h 5155660"/>
              <a:gd name="connsiteX1" fmla="*/ 8497362 w 8497362"/>
              <a:gd name="connsiteY1" fmla="*/ 0 h 5155660"/>
              <a:gd name="connsiteX2" fmla="*/ 4285285 w 8497362"/>
              <a:gd name="connsiteY2" fmla="*/ 5155660 h 5155660"/>
              <a:gd name="connsiteX3" fmla="*/ 3114 w 8497362"/>
              <a:gd name="connsiteY3" fmla="*/ 5155660 h 5155660"/>
              <a:gd name="connsiteX4" fmla="*/ 539 w 8497362"/>
              <a:gd name="connsiteY4" fmla="*/ 3982038 h 5155660"/>
              <a:gd name="connsiteX5" fmla="*/ 17287 w 8497362"/>
              <a:gd name="connsiteY5" fmla="*/ 14271 h 5155660"/>
              <a:gd name="connsiteX0" fmla="*/ 0 w 8503313"/>
              <a:gd name="connsiteY0" fmla="*/ 48234 h 5155660"/>
              <a:gd name="connsiteX1" fmla="*/ 8503313 w 8503313"/>
              <a:gd name="connsiteY1" fmla="*/ 0 h 5155660"/>
              <a:gd name="connsiteX2" fmla="*/ 4291236 w 8503313"/>
              <a:gd name="connsiteY2" fmla="*/ 5155660 h 5155660"/>
              <a:gd name="connsiteX3" fmla="*/ 9065 w 8503313"/>
              <a:gd name="connsiteY3" fmla="*/ 5155660 h 5155660"/>
              <a:gd name="connsiteX4" fmla="*/ 6490 w 8503313"/>
              <a:gd name="connsiteY4" fmla="*/ 3982038 h 5155660"/>
              <a:gd name="connsiteX5" fmla="*/ 0 w 8503313"/>
              <a:gd name="connsiteY5" fmla="*/ 48234 h 5155660"/>
              <a:gd name="connsiteX0" fmla="*/ 0 w 8501525"/>
              <a:gd name="connsiteY0" fmla="*/ 0 h 5162839"/>
              <a:gd name="connsiteX1" fmla="*/ 8501525 w 8501525"/>
              <a:gd name="connsiteY1" fmla="*/ 7179 h 5162839"/>
              <a:gd name="connsiteX2" fmla="*/ 4289448 w 8501525"/>
              <a:gd name="connsiteY2" fmla="*/ 5162839 h 5162839"/>
              <a:gd name="connsiteX3" fmla="*/ 7277 w 8501525"/>
              <a:gd name="connsiteY3" fmla="*/ 5162839 h 5162839"/>
              <a:gd name="connsiteX4" fmla="*/ 4702 w 8501525"/>
              <a:gd name="connsiteY4" fmla="*/ 3989217 h 5162839"/>
              <a:gd name="connsiteX5" fmla="*/ 0 w 8501525"/>
              <a:gd name="connsiteY5" fmla="*/ 0 h 5162839"/>
              <a:gd name="connsiteX0" fmla="*/ 816742 w 9318267"/>
              <a:gd name="connsiteY0" fmla="*/ 0 h 5162839"/>
              <a:gd name="connsiteX1" fmla="*/ 9318267 w 9318267"/>
              <a:gd name="connsiteY1" fmla="*/ 7179 h 5162839"/>
              <a:gd name="connsiteX2" fmla="*/ 5106190 w 9318267"/>
              <a:gd name="connsiteY2" fmla="*/ 5162839 h 5162839"/>
              <a:gd name="connsiteX3" fmla="*/ 824019 w 9318267"/>
              <a:gd name="connsiteY3" fmla="*/ 5162839 h 5162839"/>
              <a:gd name="connsiteX4" fmla="*/ 816742 w 9318267"/>
              <a:gd name="connsiteY4" fmla="*/ 0 h 5162839"/>
              <a:gd name="connsiteX0" fmla="*/ 311364 w 8812889"/>
              <a:gd name="connsiteY0" fmla="*/ 0 h 5162839"/>
              <a:gd name="connsiteX1" fmla="*/ 8812889 w 8812889"/>
              <a:gd name="connsiteY1" fmla="*/ 7179 h 5162839"/>
              <a:gd name="connsiteX2" fmla="*/ 4600812 w 8812889"/>
              <a:gd name="connsiteY2" fmla="*/ 5162839 h 5162839"/>
              <a:gd name="connsiteX3" fmla="*/ 318641 w 8812889"/>
              <a:gd name="connsiteY3" fmla="*/ 5162839 h 5162839"/>
              <a:gd name="connsiteX4" fmla="*/ 311364 w 8812889"/>
              <a:gd name="connsiteY4" fmla="*/ 0 h 5162839"/>
              <a:gd name="connsiteX0" fmla="*/ 6384 w 8507909"/>
              <a:gd name="connsiteY0" fmla="*/ 0 h 5162839"/>
              <a:gd name="connsiteX1" fmla="*/ 8507909 w 8507909"/>
              <a:gd name="connsiteY1" fmla="*/ 7179 h 5162839"/>
              <a:gd name="connsiteX2" fmla="*/ 4295832 w 8507909"/>
              <a:gd name="connsiteY2" fmla="*/ 5162839 h 5162839"/>
              <a:gd name="connsiteX3" fmla="*/ 13661 w 8507909"/>
              <a:gd name="connsiteY3" fmla="*/ 5162839 h 5162839"/>
              <a:gd name="connsiteX4" fmla="*/ 6384 w 8507909"/>
              <a:gd name="connsiteY4" fmla="*/ 0 h 5162839"/>
              <a:gd name="connsiteX0" fmla="*/ 0 w 8501525"/>
              <a:gd name="connsiteY0" fmla="*/ 0 h 5162839"/>
              <a:gd name="connsiteX1" fmla="*/ 8501525 w 8501525"/>
              <a:gd name="connsiteY1" fmla="*/ 7179 h 5162839"/>
              <a:gd name="connsiteX2" fmla="*/ 4289448 w 8501525"/>
              <a:gd name="connsiteY2" fmla="*/ 5162839 h 5162839"/>
              <a:gd name="connsiteX3" fmla="*/ 7277 w 8501525"/>
              <a:gd name="connsiteY3" fmla="*/ 5162839 h 5162839"/>
              <a:gd name="connsiteX4" fmla="*/ 0 w 8501525"/>
              <a:gd name="connsiteY4" fmla="*/ 0 h 5162839"/>
              <a:gd name="connsiteX0" fmla="*/ 138333 w 8495070"/>
              <a:gd name="connsiteY0" fmla="*/ 109009 h 5155660"/>
              <a:gd name="connsiteX1" fmla="*/ 8495070 w 8495070"/>
              <a:gd name="connsiteY1" fmla="*/ 0 h 5155660"/>
              <a:gd name="connsiteX2" fmla="*/ 4282993 w 8495070"/>
              <a:gd name="connsiteY2" fmla="*/ 5155660 h 5155660"/>
              <a:gd name="connsiteX3" fmla="*/ 822 w 8495070"/>
              <a:gd name="connsiteY3" fmla="*/ 5155660 h 5155660"/>
              <a:gd name="connsiteX4" fmla="*/ 138333 w 8495070"/>
              <a:gd name="connsiteY4" fmla="*/ 109009 h 5155660"/>
              <a:gd name="connsiteX0" fmla="*/ 0 w 8501525"/>
              <a:gd name="connsiteY0" fmla="*/ 0 h 5157476"/>
              <a:gd name="connsiteX1" fmla="*/ 8501525 w 8501525"/>
              <a:gd name="connsiteY1" fmla="*/ 1816 h 5157476"/>
              <a:gd name="connsiteX2" fmla="*/ 4289448 w 8501525"/>
              <a:gd name="connsiteY2" fmla="*/ 5157476 h 5157476"/>
              <a:gd name="connsiteX3" fmla="*/ 7277 w 8501525"/>
              <a:gd name="connsiteY3" fmla="*/ 5157476 h 5157476"/>
              <a:gd name="connsiteX4" fmla="*/ 0 w 8501525"/>
              <a:gd name="connsiteY4" fmla="*/ 0 h 5157476"/>
              <a:gd name="connsiteX0" fmla="*/ 974 w 8500712"/>
              <a:gd name="connsiteY0" fmla="*/ 0 h 5159263"/>
              <a:gd name="connsiteX1" fmla="*/ 8500712 w 8500712"/>
              <a:gd name="connsiteY1" fmla="*/ 3603 h 5159263"/>
              <a:gd name="connsiteX2" fmla="*/ 4288635 w 8500712"/>
              <a:gd name="connsiteY2" fmla="*/ 5159263 h 5159263"/>
              <a:gd name="connsiteX3" fmla="*/ 6464 w 8500712"/>
              <a:gd name="connsiteY3" fmla="*/ 5159263 h 5159263"/>
              <a:gd name="connsiteX4" fmla="*/ 974 w 8500712"/>
              <a:gd name="connsiteY4" fmla="*/ 0 h 5159263"/>
              <a:gd name="connsiteX0" fmla="*/ 974 w 8500712"/>
              <a:gd name="connsiteY0" fmla="*/ 0 h 5161050"/>
              <a:gd name="connsiteX1" fmla="*/ 8500712 w 8500712"/>
              <a:gd name="connsiteY1" fmla="*/ 5390 h 5161050"/>
              <a:gd name="connsiteX2" fmla="*/ 4288635 w 8500712"/>
              <a:gd name="connsiteY2" fmla="*/ 5161050 h 5161050"/>
              <a:gd name="connsiteX3" fmla="*/ 6464 w 8500712"/>
              <a:gd name="connsiteY3" fmla="*/ 5161050 h 5161050"/>
              <a:gd name="connsiteX4" fmla="*/ 974 w 8500712"/>
              <a:gd name="connsiteY4" fmla="*/ 0 h 5161050"/>
              <a:gd name="connsiteX0" fmla="*/ 974 w 8506075"/>
              <a:gd name="connsiteY0" fmla="*/ 0 h 5161050"/>
              <a:gd name="connsiteX1" fmla="*/ 8506075 w 8506075"/>
              <a:gd name="connsiteY1" fmla="*/ 3602 h 5161050"/>
              <a:gd name="connsiteX2" fmla="*/ 4288635 w 8506075"/>
              <a:gd name="connsiteY2" fmla="*/ 5161050 h 5161050"/>
              <a:gd name="connsiteX3" fmla="*/ 6464 w 8506075"/>
              <a:gd name="connsiteY3" fmla="*/ 5161050 h 5161050"/>
              <a:gd name="connsiteX4" fmla="*/ 974 w 8506075"/>
              <a:gd name="connsiteY4" fmla="*/ 0 h 5161050"/>
              <a:gd name="connsiteX0" fmla="*/ 974 w 8502500"/>
              <a:gd name="connsiteY0" fmla="*/ 0 h 5161050"/>
              <a:gd name="connsiteX1" fmla="*/ 8502500 w 8502500"/>
              <a:gd name="connsiteY1" fmla="*/ 1814 h 5161050"/>
              <a:gd name="connsiteX2" fmla="*/ 4288635 w 8502500"/>
              <a:gd name="connsiteY2" fmla="*/ 5161050 h 5161050"/>
              <a:gd name="connsiteX3" fmla="*/ 6464 w 8502500"/>
              <a:gd name="connsiteY3" fmla="*/ 5161050 h 5161050"/>
              <a:gd name="connsiteX4" fmla="*/ 974 w 8502500"/>
              <a:gd name="connsiteY4" fmla="*/ 0 h 5161050"/>
              <a:gd name="connsiteX0" fmla="*/ 2236 w 8503762"/>
              <a:gd name="connsiteY0" fmla="*/ 0 h 5161050"/>
              <a:gd name="connsiteX1" fmla="*/ 8503762 w 8503762"/>
              <a:gd name="connsiteY1" fmla="*/ 1814 h 5161050"/>
              <a:gd name="connsiteX2" fmla="*/ 4289897 w 8503762"/>
              <a:gd name="connsiteY2" fmla="*/ 5161050 h 5161050"/>
              <a:gd name="connsiteX3" fmla="*/ 5939 w 8503762"/>
              <a:gd name="connsiteY3" fmla="*/ 5159262 h 5161050"/>
              <a:gd name="connsiteX4" fmla="*/ 2236 w 8503762"/>
              <a:gd name="connsiteY4" fmla="*/ 0 h 5161050"/>
              <a:gd name="connsiteX0" fmla="*/ 974 w 8502500"/>
              <a:gd name="connsiteY0" fmla="*/ 0 h 5161050"/>
              <a:gd name="connsiteX1" fmla="*/ 8502500 w 8502500"/>
              <a:gd name="connsiteY1" fmla="*/ 1814 h 5161050"/>
              <a:gd name="connsiteX2" fmla="*/ 4288635 w 8502500"/>
              <a:gd name="connsiteY2" fmla="*/ 5161050 h 5161050"/>
              <a:gd name="connsiteX3" fmla="*/ 6465 w 8502500"/>
              <a:gd name="connsiteY3" fmla="*/ 5161049 h 5161050"/>
              <a:gd name="connsiteX4" fmla="*/ 974 w 8502500"/>
              <a:gd name="connsiteY4" fmla="*/ 0 h 5161050"/>
              <a:gd name="connsiteX0" fmla="*/ 2236 w 8503762"/>
              <a:gd name="connsiteY0" fmla="*/ 0 h 5161050"/>
              <a:gd name="connsiteX1" fmla="*/ 8503762 w 8503762"/>
              <a:gd name="connsiteY1" fmla="*/ 1814 h 5161050"/>
              <a:gd name="connsiteX2" fmla="*/ 4289897 w 8503762"/>
              <a:gd name="connsiteY2" fmla="*/ 5161050 h 5161050"/>
              <a:gd name="connsiteX3" fmla="*/ 5939 w 8503762"/>
              <a:gd name="connsiteY3" fmla="*/ 5161049 h 5161050"/>
              <a:gd name="connsiteX4" fmla="*/ 2236 w 8503762"/>
              <a:gd name="connsiteY4" fmla="*/ 0 h 516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03762" h="5161050">
                <a:moveTo>
                  <a:pt x="2236" y="0"/>
                </a:moveTo>
                <a:lnTo>
                  <a:pt x="8503762" y="1814"/>
                </a:lnTo>
                <a:lnTo>
                  <a:pt x="4289897" y="5161050"/>
                </a:lnTo>
                <a:lnTo>
                  <a:pt x="5939" y="5161049"/>
                </a:lnTo>
                <a:cubicBezTo>
                  <a:pt x="-7479" y="3669400"/>
                  <a:pt x="6674" y="2058511"/>
                  <a:pt x="2236" y="0"/>
                </a:cubicBez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400054" y="3059450"/>
            <a:ext cx="4615735" cy="452437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marL="0" indent="0">
              <a:buFontTx/>
              <a:buNone/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342884" indent="0">
              <a:buFontTx/>
              <a:buNone/>
              <a:defRPr sz="1800" cap="all" baseline="0">
                <a:solidFill>
                  <a:schemeClr val="bg1"/>
                </a:solidFill>
              </a:defRPr>
            </a:lvl2pPr>
            <a:lvl3pPr marL="685766" indent="0">
              <a:buFontTx/>
              <a:buNone/>
              <a:defRPr sz="1800" cap="all" baseline="0">
                <a:solidFill>
                  <a:schemeClr val="bg1"/>
                </a:solidFill>
              </a:defRPr>
            </a:lvl3pPr>
            <a:lvl4pPr marL="1028649" indent="0">
              <a:buFontTx/>
              <a:buNone/>
              <a:defRPr sz="1800" cap="all" baseline="0">
                <a:solidFill>
                  <a:schemeClr val="bg1"/>
                </a:solidFill>
              </a:defRPr>
            </a:lvl4pPr>
            <a:lvl5pPr marL="1371532" indent="0">
              <a:buFontTx/>
              <a:buNone/>
              <a:defRPr sz="18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1E556CC-6B55-444A-868A-6D051FE3E6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00053" y="3692359"/>
            <a:ext cx="3825090" cy="34747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50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D112CDC-29A5-4F0D-B8C8-4C3E6A6DF07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00053" y="4764211"/>
            <a:ext cx="3200400" cy="34747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6" name="Freeform 18">
            <a:extLst>
              <a:ext uri="{FF2B5EF4-FFF2-40B4-BE49-F238E27FC236}">
                <a16:creationId xmlns:a16="http://schemas.microsoft.com/office/drawing/2014/main" id="{C737ECD5-9BB0-4A41-9B4A-05490987671A}"/>
              </a:ext>
            </a:extLst>
          </p:cNvPr>
          <p:cNvSpPr/>
          <p:nvPr userDrawn="1"/>
        </p:nvSpPr>
        <p:spPr>
          <a:xfrm>
            <a:off x="-6748" y="-10048"/>
            <a:ext cx="1640075" cy="5322214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41519" h="3995174">
                <a:moveTo>
                  <a:pt x="2397" y="0"/>
                </a:moveTo>
                <a:lnTo>
                  <a:pt x="1641519" y="3689"/>
                </a:lnTo>
                <a:lnTo>
                  <a:pt x="1605" y="3995174"/>
                </a:lnTo>
                <a:cubicBezTo>
                  <a:pt x="-4257" y="2649951"/>
                  <a:pt x="8259" y="1354016"/>
                  <a:pt x="239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0A52094-F490-4B75-B004-FD3D7D09B1D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346025" y="6012820"/>
            <a:ext cx="1570721" cy="71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4275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Cover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ABC4C54-664B-4897-AC58-BA6ECA05BF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ABC4C54-664B-4897-AC58-BA6ECA05BF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048" y="3692"/>
            <a:ext cx="9142953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4" name="Freeform 15">
            <a:extLst>
              <a:ext uri="{FF2B5EF4-FFF2-40B4-BE49-F238E27FC236}">
                <a16:creationId xmlns:a16="http://schemas.microsoft.com/office/drawing/2014/main" id="{F0A0EE2C-B316-4194-8096-9E1F1A8429E2}"/>
              </a:ext>
            </a:extLst>
          </p:cNvPr>
          <p:cNvSpPr/>
          <p:nvPr userDrawn="1"/>
        </p:nvSpPr>
        <p:spPr>
          <a:xfrm>
            <a:off x="-5141" y="-3463"/>
            <a:ext cx="8496281" cy="6875348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0 w 8510462"/>
              <a:gd name="connsiteY0" fmla="*/ 0 h 5164627"/>
              <a:gd name="connsiteX1" fmla="*/ 8510462 w 8510462"/>
              <a:gd name="connsiteY1" fmla="*/ 8967 h 5164627"/>
              <a:gd name="connsiteX2" fmla="*/ 4298385 w 8510462"/>
              <a:gd name="connsiteY2" fmla="*/ 5164627 h 5164627"/>
              <a:gd name="connsiteX3" fmla="*/ 16214 w 8510462"/>
              <a:gd name="connsiteY3" fmla="*/ 5164627 h 5164627"/>
              <a:gd name="connsiteX4" fmla="*/ 13639 w 8510462"/>
              <a:gd name="connsiteY4" fmla="*/ 3991005 h 5164627"/>
              <a:gd name="connsiteX5" fmla="*/ 0 w 8510462"/>
              <a:gd name="connsiteY5" fmla="*/ 0 h 5164627"/>
              <a:gd name="connsiteX0" fmla="*/ 0 w 8501525"/>
              <a:gd name="connsiteY0" fmla="*/ 0 h 5164627"/>
              <a:gd name="connsiteX1" fmla="*/ 8501525 w 8501525"/>
              <a:gd name="connsiteY1" fmla="*/ 8967 h 5164627"/>
              <a:gd name="connsiteX2" fmla="*/ 4289448 w 8501525"/>
              <a:gd name="connsiteY2" fmla="*/ 5164627 h 5164627"/>
              <a:gd name="connsiteX3" fmla="*/ 7277 w 8501525"/>
              <a:gd name="connsiteY3" fmla="*/ 5164627 h 5164627"/>
              <a:gd name="connsiteX4" fmla="*/ 4702 w 8501525"/>
              <a:gd name="connsiteY4" fmla="*/ 3991005 h 5164627"/>
              <a:gd name="connsiteX5" fmla="*/ 0 w 8501525"/>
              <a:gd name="connsiteY5" fmla="*/ 0 h 5164627"/>
              <a:gd name="connsiteX0" fmla="*/ 17287 w 8497362"/>
              <a:gd name="connsiteY0" fmla="*/ 14271 h 5155660"/>
              <a:gd name="connsiteX1" fmla="*/ 8497362 w 8497362"/>
              <a:gd name="connsiteY1" fmla="*/ 0 h 5155660"/>
              <a:gd name="connsiteX2" fmla="*/ 4285285 w 8497362"/>
              <a:gd name="connsiteY2" fmla="*/ 5155660 h 5155660"/>
              <a:gd name="connsiteX3" fmla="*/ 3114 w 8497362"/>
              <a:gd name="connsiteY3" fmla="*/ 5155660 h 5155660"/>
              <a:gd name="connsiteX4" fmla="*/ 539 w 8497362"/>
              <a:gd name="connsiteY4" fmla="*/ 3982038 h 5155660"/>
              <a:gd name="connsiteX5" fmla="*/ 17287 w 8497362"/>
              <a:gd name="connsiteY5" fmla="*/ 14271 h 5155660"/>
              <a:gd name="connsiteX0" fmla="*/ 0 w 8503313"/>
              <a:gd name="connsiteY0" fmla="*/ 48234 h 5155660"/>
              <a:gd name="connsiteX1" fmla="*/ 8503313 w 8503313"/>
              <a:gd name="connsiteY1" fmla="*/ 0 h 5155660"/>
              <a:gd name="connsiteX2" fmla="*/ 4291236 w 8503313"/>
              <a:gd name="connsiteY2" fmla="*/ 5155660 h 5155660"/>
              <a:gd name="connsiteX3" fmla="*/ 9065 w 8503313"/>
              <a:gd name="connsiteY3" fmla="*/ 5155660 h 5155660"/>
              <a:gd name="connsiteX4" fmla="*/ 6490 w 8503313"/>
              <a:gd name="connsiteY4" fmla="*/ 3982038 h 5155660"/>
              <a:gd name="connsiteX5" fmla="*/ 0 w 8503313"/>
              <a:gd name="connsiteY5" fmla="*/ 48234 h 5155660"/>
              <a:gd name="connsiteX0" fmla="*/ 0 w 8501525"/>
              <a:gd name="connsiteY0" fmla="*/ 0 h 5162839"/>
              <a:gd name="connsiteX1" fmla="*/ 8501525 w 8501525"/>
              <a:gd name="connsiteY1" fmla="*/ 7179 h 5162839"/>
              <a:gd name="connsiteX2" fmla="*/ 4289448 w 8501525"/>
              <a:gd name="connsiteY2" fmla="*/ 5162839 h 5162839"/>
              <a:gd name="connsiteX3" fmla="*/ 7277 w 8501525"/>
              <a:gd name="connsiteY3" fmla="*/ 5162839 h 5162839"/>
              <a:gd name="connsiteX4" fmla="*/ 4702 w 8501525"/>
              <a:gd name="connsiteY4" fmla="*/ 3989217 h 5162839"/>
              <a:gd name="connsiteX5" fmla="*/ 0 w 8501525"/>
              <a:gd name="connsiteY5" fmla="*/ 0 h 5162839"/>
              <a:gd name="connsiteX0" fmla="*/ 816742 w 9318267"/>
              <a:gd name="connsiteY0" fmla="*/ 0 h 5162839"/>
              <a:gd name="connsiteX1" fmla="*/ 9318267 w 9318267"/>
              <a:gd name="connsiteY1" fmla="*/ 7179 h 5162839"/>
              <a:gd name="connsiteX2" fmla="*/ 5106190 w 9318267"/>
              <a:gd name="connsiteY2" fmla="*/ 5162839 h 5162839"/>
              <a:gd name="connsiteX3" fmla="*/ 824019 w 9318267"/>
              <a:gd name="connsiteY3" fmla="*/ 5162839 h 5162839"/>
              <a:gd name="connsiteX4" fmla="*/ 816742 w 9318267"/>
              <a:gd name="connsiteY4" fmla="*/ 0 h 5162839"/>
              <a:gd name="connsiteX0" fmla="*/ 311364 w 8812889"/>
              <a:gd name="connsiteY0" fmla="*/ 0 h 5162839"/>
              <a:gd name="connsiteX1" fmla="*/ 8812889 w 8812889"/>
              <a:gd name="connsiteY1" fmla="*/ 7179 h 5162839"/>
              <a:gd name="connsiteX2" fmla="*/ 4600812 w 8812889"/>
              <a:gd name="connsiteY2" fmla="*/ 5162839 h 5162839"/>
              <a:gd name="connsiteX3" fmla="*/ 318641 w 8812889"/>
              <a:gd name="connsiteY3" fmla="*/ 5162839 h 5162839"/>
              <a:gd name="connsiteX4" fmla="*/ 311364 w 8812889"/>
              <a:gd name="connsiteY4" fmla="*/ 0 h 5162839"/>
              <a:gd name="connsiteX0" fmla="*/ 6384 w 8507909"/>
              <a:gd name="connsiteY0" fmla="*/ 0 h 5162839"/>
              <a:gd name="connsiteX1" fmla="*/ 8507909 w 8507909"/>
              <a:gd name="connsiteY1" fmla="*/ 7179 h 5162839"/>
              <a:gd name="connsiteX2" fmla="*/ 4295832 w 8507909"/>
              <a:gd name="connsiteY2" fmla="*/ 5162839 h 5162839"/>
              <a:gd name="connsiteX3" fmla="*/ 13661 w 8507909"/>
              <a:gd name="connsiteY3" fmla="*/ 5162839 h 5162839"/>
              <a:gd name="connsiteX4" fmla="*/ 6384 w 8507909"/>
              <a:gd name="connsiteY4" fmla="*/ 0 h 5162839"/>
              <a:gd name="connsiteX0" fmla="*/ 0 w 8501525"/>
              <a:gd name="connsiteY0" fmla="*/ 0 h 5162839"/>
              <a:gd name="connsiteX1" fmla="*/ 8501525 w 8501525"/>
              <a:gd name="connsiteY1" fmla="*/ 7179 h 5162839"/>
              <a:gd name="connsiteX2" fmla="*/ 4289448 w 8501525"/>
              <a:gd name="connsiteY2" fmla="*/ 5162839 h 5162839"/>
              <a:gd name="connsiteX3" fmla="*/ 7277 w 8501525"/>
              <a:gd name="connsiteY3" fmla="*/ 5162839 h 5162839"/>
              <a:gd name="connsiteX4" fmla="*/ 0 w 8501525"/>
              <a:gd name="connsiteY4" fmla="*/ 0 h 5162839"/>
              <a:gd name="connsiteX0" fmla="*/ 138333 w 8495070"/>
              <a:gd name="connsiteY0" fmla="*/ 109009 h 5155660"/>
              <a:gd name="connsiteX1" fmla="*/ 8495070 w 8495070"/>
              <a:gd name="connsiteY1" fmla="*/ 0 h 5155660"/>
              <a:gd name="connsiteX2" fmla="*/ 4282993 w 8495070"/>
              <a:gd name="connsiteY2" fmla="*/ 5155660 h 5155660"/>
              <a:gd name="connsiteX3" fmla="*/ 822 w 8495070"/>
              <a:gd name="connsiteY3" fmla="*/ 5155660 h 5155660"/>
              <a:gd name="connsiteX4" fmla="*/ 138333 w 8495070"/>
              <a:gd name="connsiteY4" fmla="*/ 109009 h 5155660"/>
              <a:gd name="connsiteX0" fmla="*/ 0 w 8501525"/>
              <a:gd name="connsiteY0" fmla="*/ 0 h 5157476"/>
              <a:gd name="connsiteX1" fmla="*/ 8501525 w 8501525"/>
              <a:gd name="connsiteY1" fmla="*/ 1816 h 5157476"/>
              <a:gd name="connsiteX2" fmla="*/ 4289448 w 8501525"/>
              <a:gd name="connsiteY2" fmla="*/ 5157476 h 5157476"/>
              <a:gd name="connsiteX3" fmla="*/ 7277 w 8501525"/>
              <a:gd name="connsiteY3" fmla="*/ 5157476 h 5157476"/>
              <a:gd name="connsiteX4" fmla="*/ 0 w 8501525"/>
              <a:gd name="connsiteY4" fmla="*/ 0 h 5157476"/>
              <a:gd name="connsiteX0" fmla="*/ 974 w 8500712"/>
              <a:gd name="connsiteY0" fmla="*/ 0 h 5159263"/>
              <a:gd name="connsiteX1" fmla="*/ 8500712 w 8500712"/>
              <a:gd name="connsiteY1" fmla="*/ 3603 h 5159263"/>
              <a:gd name="connsiteX2" fmla="*/ 4288635 w 8500712"/>
              <a:gd name="connsiteY2" fmla="*/ 5159263 h 5159263"/>
              <a:gd name="connsiteX3" fmla="*/ 6464 w 8500712"/>
              <a:gd name="connsiteY3" fmla="*/ 5159263 h 5159263"/>
              <a:gd name="connsiteX4" fmla="*/ 974 w 8500712"/>
              <a:gd name="connsiteY4" fmla="*/ 0 h 5159263"/>
              <a:gd name="connsiteX0" fmla="*/ 974 w 8500712"/>
              <a:gd name="connsiteY0" fmla="*/ 0 h 5161050"/>
              <a:gd name="connsiteX1" fmla="*/ 8500712 w 8500712"/>
              <a:gd name="connsiteY1" fmla="*/ 5390 h 5161050"/>
              <a:gd name="connsiteX2" fmla="*/ 4288635 w 8500712"/>
              <a:gd name="connsiteY2" fmla="*/ 5161050 h 5161050"/>
              <a:gd name="connsiteX3" fmla="*/ 6464 w 8500712"/>
              <a:gd name="connsiteY3" fmla="*/ 5161050 h 5161050"/>
              <a:gd name="connsiteX4" fmla="*/ 974 w 8500712"/>
              <a:gd name="connsiteY4" fmla="*/ 0 h 5161050"/>
              <a:gd name="connsiteX0" fmla="*/ 974 w 8506075"/>
              <a:gd name="connsiteY0" fmla="*/ 0 h 5161050"/>
              <a:gd name="connsiteX1" fmla="*/ 8506075 w 8506075"/>
              <a:gd name="connsiteY1" fmla="*/ 3602 h 5161050"/>
              <a:gd name="connsiteX2" fmla="*/ 4288635 w 8506075"/>
              <a:gd name="connsiteY2" fmla="*/ 5161050 h 5161050"/>
              <a:gd name="connsiteX3" fmla="*/ 6464 w 8506075"/>
              <a:gd name="connsiteY3" fmla="*/ 5161050 h 5161050"/>
              <a:gd name="connsiteX4" fmla="*/ 974 w 8506075"/>
              <a:gd name="connsiteY4" fmla="*/ 0 h 5161050"/>
              <a:gd name="connsiteX0" fmla="*/ 974 w 8502500"/>
              <a:gd name="connsiteY0" fmla="*/ 0 h 5161050"/>
              <a:gd name="connsiteX1" fmla="*/ 8502500 w 8502500"/>
              <a:gd name="connsiteY1" fmla="*/ 1814 h 5161050"/>
              <a:gd name="connsiteX2" fmla="*/ 4288635 w 8502500"/>
              <a:gd name="connsiteY2" fmla="*/ 5161050 h 5161050"/>
              <a:gd name="connsiteX3" fmla="*/ 6464 w 8502500"/>
              <a:gd name="connsiteY3" fmla="*/ 5161050 h 5161050"/>
              <a:gd name="connsiteX4" fmla="*/ 974 w 8502500"/>
              <a:gd name="connsiteY4" fmla="*/ 0 h 5161050"/>
              <a:gd name="connsiteX0" fmla="*/ 2236 w 8503762"/>
              <a:gd name="connsiteY0" fmla="*/ 0 h 5161050"/>
              <a:gd name="connsiteX1" fmla="*/ 8503762 w 8503762"/>
              <a:gd name="connsiteY1" fmla="*/ 1814 h 5161050"/>
              <a:gd name="connsiteX2" fmla="*/ 4289897 w 8503762"/>
              <a:gd name="connsiteY2" fmla="*/ 5161050 h 5161050"/>
              <a:gd name="connsiteX3" fmla="*/ 5939 w 8503762"/>
              <a:gd name="connsiteY3" fmla="*/ 5159262 h 5161050"/>
              <a:gd name="connsiteX4" fmla="*/ 2236 w 8503762"/>
              <a:gd name="connsiteY4" fmla="*/ 0 h 5161050"/>
              <a:gd name="connsiteX0" fmla="*/ 974 w 8502500"/>
              <a:gd name="connsiteY0" fmla="*/ 0 h 5161050"/>
              <a:gd name="connsiteX1" fmla="*/ 8502500 w 8502500"/>
              <a:gd name="connsiteY1" fmla="*/ 1814 h 5161050"/>
              <a:gd name="connsiteX2" fmla="*/ 4288635 w 8502500"/>
              <a:gd name="connsiteY2" fmla="*/ 5161050 h 5161050"/>
              <a:gd name="connsiteX3" fmla="*/ 6465 w 8502500"/>
              <a:gd name="connsiteY3" fmla="*/ 5161049 h 5161050"/>
              <a:gd name="connsiteX4" fmla="*/ 974 w 8502500"/>
              <a:gd name="connsiteY4" fmla="*/ 0 h 5161050"/>
              <a:gd name="connsiteX0" fmla="*/ 2236 w 8503762"/>
              <a:gd name="connsiteY0" fmla="*/ 0 h 5161050"/>
              <a:gd name="connsiteX1" fmla="*/ 8503762 w 8503762"/>
              <a:gd name="connsiteY1" fmla="*/ 1814 h 5161050"/>
              <a:gd name="connsiteX2" fmla="*/ 4289897 w 8503762"/>
              <a:gd name="connsiteY2" fmla="*/ 5161050 h 5161050"/>
              <a:gd name="connsiteX3" fmla="*/ 5939 w 8503762"/>
              <a:gd name="connsiteY3" fmla="*/ 5161049 h 5161050"/>
              <a:gd name="connsiteX4" fmla="*/ 2236 w 8503762"/>
              <a:gd name="connsiteY4" fmla="*/ 0 h 516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03762" h="5161050">
                <a:moveTo>
                  <a:pt x="2236" y="0"/>
                </a:moveTo>
                <a:lnTo>
                  <a:pt x="8503762" y="1814"/>
                </a:lnTo>
                <a:lnTo>
                  <a:pt x="4289897" y="5161050"/>
                </a:lnTo>
                <a:lnTo>
                  <a:pt x="5939" y="5161049"/>
                </a:lnTo>
                <a:cubicBezTo>
                  <a:pt x="-7479" y="3669400"/>
                  <a:pt x="6674" y="2058511"/>
                  <a:pt x="2236" y="0"/>
                </a:cubicBez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400055" y="3059450"/>
            <a:ext cx="4615735" cy="452437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marL="0" indent="0">
              <a:buFontTx/>
              <a:buNone/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342884" indent="0">
              <a:buFontTx/>
              <a:buNone/>
              <a:defRPr sz="1800" cap="all" baseline="0">
                <a:solidFill>
                  <a:schemeClr val="bg1"/>
                </a:solidFill>
              </a:defRPr>
            </a:lvl2pPr>
            <a:lvl3pPr marL="685766" indent="0">
              <a:buFontTx/>
              <a:buNone/>
              <a:defRPr sz="1800" cap="all" baseline="0">
                <a:solidFill>
                  <a:schemeClr val="bg1"/>
                </a:solidFill>
              </a:defRPr>
            </a:lvl3pPr>
            <a:lvl4pPr marL="1028649" indent="0">
              <a:buFontTx/>
              <a:buNone/>
              <a:defRPr sz="1800" cap="all" baseline="0">
                <a:solidFill>
                  <a:schemeClr val="bg1"/>
                </a:solidFill>
              </a:defRPr>
            </a:lvl4pPr>
            <a:lvl5pPr marL="1371532" indent="0">
              <a:buFontTx/>
              <a:buNone/>
              <a:defRPr sz="18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2C43532-C920-4D70-A603-34F8D15FDAA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3" r="23063" b="1573"/>
          <a:stretch>
            <a:fillRect/>
          </a:stretch>
        </p:blipFill>
        <p:spPr>
          <a:xfrm>
            <a:off x="-11157" y="-4329"/>
            <a:ext cx="1640077" cy="5322214"/>
          </a:xfrm>
          <a:custGeom>
            <a:avLst/>
            <a:gdLst>
              <a:gd name="connsiteX0" fmla="*/ 3195 w 2186769"/>
              <a:gd name="connsiteY0" fmla="*/ 0 h 5322214"/>
              <a:gd name="connsiteX1" fmla="*/ 2186769 w 2186769"/>
              <a:gd name="connsiteY1" fmla="*/ 4914 h 5322214"/>
              <a:gd name="connsiteX2" fmla="*/ 2140 w 2186769"/>
              <a:gd name="connsiteY2" fmla="*/ 5322214 h 5322214"/>
              <a:gd name="connsiteX3" fmla="*/ 3195 w 2186769"/>
              <a:gd name="connsiteY3" fmla="*/ 0 h 5322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6769" h="5322214">
                <a:moveTo>
                  <a:pt x="3195" y="0"/>
                </a:moveTo>
                <a:lnTo>
                  <a:pt x="2186769" y="4914"/>
                </a:lnTo>
                <a:lnTo>
                  <a:pt x="2140" y="5322214"/>
                </a:lnTo>
                <a:cubicBezTo>
                  <a:pt x="-5669" y="3530161"/>
                  <a:pt x="11004" y="1803767"/>
                  <a:pt x="3195" y="0"/>
                </a:cubicBezTo>
                <a:close/>
              </a:path>
            </a:pathLst>
          </a:custGeom>
        </p:spPr>
      </p:pic>
      <p:sp>
        <p:nvSpPr>
          <p:cNvPr id="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400053" y="4764211"/>
            <a:ext cx="3200400" cy="34747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2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1E556CC-6B55-444A-868A-6D051FE3E6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00053" y="3692359"/>
            <a:ext cx="3825090" cy="34747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500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452DC0C-59DD-4EAD-BBF3-C2146A50ADD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346025" y="6012820"/>
            <a:ext cx="1570721" cy="71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9382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8F73A2-04A1-4E96-B64D-006D4F1DF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8F73A2-04A1-4E96-B64D-006D4F1DF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CC23497-0997-4ED4-B9CB-BBFA337B43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55B52FB9-352C-43AE-B047-3EF2824426D4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750" cy="1011600"/>
          </a:xfrm>
          <a:prstGeom prst="rect">
            <a:avLst/>
          </a:prstGeom>
        </p:spPr>
        <p:txBody>
          <a:bodyPr wrap="square"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6811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8F73A2-04A1-4E96-B64D-006D4F1DF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8F73A2-04A1-4E96-B64D-006D4F1DF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CC23497-0997-4ED4-B9CB-BBFA337B43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76F2A4-20E9-4270-ADF8-24B579A917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1" y="1341114"/>
            <a:ext cx="8707750" cy="4651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 marL="540000" indent="0">
              <a:buNone/>
              <a:defRPr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55B52FB9-352C-43AE-B047-3EF2824426D4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750" cy="1011600"/>
          </a:xfrm>
          <a:prstGeom prst="rect">
            <a:avLst/>
          </a:prstGeom>
        </p:spPr>
        <p:txBody>
          <a:bodyPr wrap="square"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9A3F822C-A70D-413C-A564-D4A7F513A302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2145176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2A1D1F-438D-436C-9502-B48AA4BA83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2A1D1F-438D-436C-9502-B48AA4BA83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FC5E17-231D-442F-AF03-D71F8247D7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6"/>
            <a:ext cx="8707750" cy="54715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B9A5C5-09FA-4F23-9056-C9675EF303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1" y="1984919"/>
            <a:ext cx="8707750" cy="40074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1F7AB54A-5D4B-4FED-AFBB-F1FE5CB45775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750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6" name="Content">
            <a:extLst>
              <a:ext uri="{FF2B5EF4-FFF2-40B4-BE49-F238E27FC236}">
                <a16:creationId xmlns:a16="http://schemas.microsoft.com/office/drawing/2014/main" id="{2A79D07B-9FB9-4DA4-86A5-F4017D85AAB9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3661844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22BCD6-4A88-47D4-B16F-73A31A9CD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22BCD6-4A88-47D4-B16F-73A31A9CD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4ADD763-B1D3-455B-BDCB-24E3A55922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"/>
          <p:cNvSpPr>
            <a:spLocks noGrp="1"/>
          </p:cNvSpPr>
          <p:nvPr>
            <p:ph idx="11" hasCustomPrompt="1"/>
          </p:nvPr>
        </p:nvSpPr>
        <p:spPr bwMode="gray">
          <a:xfrm>
            <a:off x="4783338" y="1341114"/>
            <a:ext cx="4140000" cy="465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35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</p:txBody>
      </p:sp>
      <p:sp>
        <p:nvSpPr>
          <p:cNvPr id="5" name="Content Left"/>
          <p:cNvSpPr>
            <a:spLocks noGrp="1"/>
          </p:cNvSpPr>
          <p:nvPr>
            <p:ph idx="1" hasCustomPrompt="1"/>
          </p:nvPr>
        </p:nvSpPr>
        <p:spPr bwMode="gray">
          <a:xfrm>
            <a:off x="215591" y="1341114"/>
            <a:ext cx="4140000" cy="465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35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75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16D1980-4CAD-475B-8F1D-1078AAC448D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9" name="Content">
            <a:extLst>
              <a:ext uri="{FF2B5EF4-FFF2-40B4-BE49-F238E27FC236}">
                <a16:creationId xmlns:a16="http://schemas.microsoft.com/office/drawing/2014/main" id="{32F6456B-2AF6-478C-8BF8-BB804EDDF957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8916776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One 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7658AF-894D-4304-8CF4-B265EDEAA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7658AF-894D-4304-8CF4-B265EDEAA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0D1D91-D772-4A4A-BC40-12E6D8A06A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Content Right"/>
          <p:cNvSpPr>
            <a:spLocks noGrp="1"/>
          </p:cNvSpPr>
          <p:nvPr>
            <p:ph idx="11" hasCustomPrompt="1"/>
          </p:nvPr>
        </p:nvSpPr>
        <p:spPr bwMode="gray">
          <a:xfrm>
            <a:off x="4783338" y="1984249"/>
            <a:ext cx="4140000" cy="4008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35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5" name="Content Left"/>
          <p:cNvSpPr>
            <a:spLocks noGrp="1"/>
          </p:cNvSpPr>
          <p:nvPr>
            <p:ph idx="1" hasCustomPrompt="1"/>
          </p:nvPr>
        </p:nvSpPr>
        <p:spPr bwMode="gray">
          <a:xfrm>
            <a:off x="215588" y="1984249"/>
            <a:ext cx="4140000" cy="4008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35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05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4"/>
            <a:ext cx="8707437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DC55B431-24EC-42F0-A1FA-11B32D72383B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">
            <a:extLst>
              <a:ext uri="{FF2B5EF4-FFF2-40B4-BE49-F238E27FC236}">
                <a16:creationId xmlns:a16="http://schemas.microsoft.com/office/drawing/2014/main" id="{FB220409-CC97-4B8A-9FB1-178FF15DCB84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5306677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7658AF-894D-4304-8CF4-B265EDEAA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7658AF-894D-4304-8CF4-B265EDEAA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0D1D91-D772-4A4A-BC40-12E6D8A06A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Content Right"/>
          <p:cNvSpPr>
            <a:spLocks noGrp="1"/>
          </p:cNvSpPr>
          <p:nvPr>
            <p:ph idx="11" hasCustomPrompt="1"/>
          </p:nvPr>
        </p:nvSpPr>
        <p:spPr bwMode="gray">
          <a:xfrm>
            <a:off x="4783338" y="1984249"/>
            <a:ext cx="4140000" cy="4008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35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5" name="Content Left"/>
          <p:cNvSpPr>
            <a:spLocks noGrp="1"/>
          </p:cNvSpPr>
          <p:nvPr>
            <p:ph idx="1" hasCustomPrompt="1"/>
          </p:nvPr>
        </p:nvSpPr>
        <p:spPr bwMode="gray">
          <a:xfrm>
            <a:off x="215588" y="1984249"/>
            <a:ext cx="4140000" cy="4008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35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05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3338" y="1341114"/>
            <a:ext cx="4140000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4"/>
            <a:ext cx="4140000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DC55B431-24EC-42F0-A1FA-11B32D72383B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">
            <a:extLst>
              <a:ext uri="{FF2B5EF4-FFF2-40B4-BE49-F238E27FC236}">
                <a16:creationId xmlns:a16="http://schemas.microsoft.com/office/drawing/2014/main" id="{FB220409-CC97-4B8A-9FB1-178FF15DCB84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126595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2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Courier New" panose="02070309020205020404" pitchFamily="49" charset="0"/>
              <a:buChar char="o"/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DE9C8-239E-4559-9CB7-220046A9EFEC}" type="datetime1">
              <a:rPr lang="en-US" smtClean="0"/>
              <a:t>10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NEP FI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D68F1-A257-47B0-A722-6C6D8A89FB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48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742699-DA95-4F47-9326-80D03E4A7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742699-DA95-4F47-9326-80D03E4A7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332938-4866-4318-824F-1ED9D95127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Content Right Top"/>
          <p:cNvSpPr>
            <a:spLocks noGrp="1"/>
          </p:cNvSpPr>
          <p:nvPr>
            <p:ph idx="29" hasCustomPrompt="1"/>
          </p:nvPr>
        </p:nvSpPr>
        <p:spPr bwMode="gray">
          <a:xfrm>
            <a:off x="4783338" y="1341113"/>
            <a:ext cx="4140000" cy="2256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9" name="Content Left Top"/>
          <p:cNvSpPr>
            <a:spLocks noGrp="1"/>
          </p:cNvSpPr>
          <p:nvPr>
            <p:ph idx="1" hasCustomPrompt="1"/>
          </p:nvPr>
        </p:nvSpPr>
        <p:spPr bwMode="gray">
          <a:xfrm>
            <a:off x="215591" y="1341113"/>
            <a:ext cx="4140000" cy="2256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 hasCustomPrompt="1"/>
          </p:nvPr>
        </p:nvSpPr>
        <p:spPr bwMode="gray">
          <a:xfrm>
            <a:off x="4783338" y="3735460"/>
            <a:ext cx="4140000" cy="2256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22" name="Content Left Top"/>
          <p:cNvSpPr>
            <a:spLocks noGrp="1"/>
          </p:cNvSpPr>
          <p:nvPr>
            <p:ph idx="35" hasCustomPrompt="1"/>
          </p:nvPr>
        </p:nvSpPr>
        <p:spPr bwMode="gray">
          <a:xfrm>
            <a:off x="215591" y="3735460"/>
            <a:ext cx="4140000" cy="2256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3C11DF43-E960-42FE-8079-BC334E34FE5D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A75329C6-4FFB-4C83-9D3B-E61D5BB1D496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2536527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, 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742699-DA95-4F47-9326-80D03E4A7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742699-DA95-4F47-9326-80D03E4A7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332938-4866-4318-824F-1ED9D95127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Content Right Top"/>
          <p:cNvSpPr>
            <a:spLocks noGrp="1"/>
          </p:cNvSpPr>
          <p:nvPr>
            <p:ph idx="29" hasCustomPrompt="1"/>
          </p:nvPr>
        </p:nvSpPr>
        <p:spPr bwMode="gray">
          <a:xfrm>
            <a:off x="4783338" y="1833237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9" name="Content Left Top"/>
          <p:cNvSpPr>
            <a:spLocks noGrp="1"/>
          </p:cNvSpPr>
          <p:nvPr>
            <p:ph idx="1" hasCustomPrompt="1"/>
          </p:nvPr>
        </p:nvSpPr>
        <p:spPr bwMode="gray">
          <a:xfrm>
            <a:off x="215591" y="1833237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3338" y="1341115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5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 hasCustomPrompt="1"/>
          </p:nvPr>
        </p:nvSpPr>
        <p:spPr bwMode="gray">
          <a:xfrm>
            <a:off x="4783338" y="4227584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22" name="Content Left Top"/>
          <p:cNvSpPr>
            <a:spLocks noGrp="1"/>
          </p:cNvSpPr>
          <p:nvPr>
            <p:ph idx="35" hasCustomPrompt="1"/>
          </p:nvPr>
        </p:nvSpPr>
        <p:spPr bwMode="gray">
          <a:xfrm>
            <a:off x="215591" y="4227584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783338" y="3735459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15591" y="3735459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3C11DF43-E960-42FE-8079-BC334E34FE5D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A75329C6-4FFB-4C83-9D3B-E61D5BB1D496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161885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B75D86-0059-4649-B683-0C9721E1A2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B75D86-0059-4649-B683-0C9721E1A2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E701441-C0AC-4078-A1D9-7297E4A01A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7" hasCustomPrompt="1"/>
          </p:nvPr>
        </p:nvSpPr>
        <p:spPr bwMode="gray">
          <a:xfrm>
            <a:off x="6223338" y="1341114"/>
            <a:ext cx="2700000" cy="4650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4" name="Content Middle"/>
          <p:cNvSpPr>
            <a:spLocks noGrp="1"/>
          </p:cNvSpPr>
          <p:nvPr>
            <p:ph idx="26" hasCustomPrompt="1"/>
          </p:nvPr>
        </p:nvSpPr>
        <p:spPr bwMode="gray">
          <a:xfrm>
            <a:off x="3219463" y="1341114"/>
            <a:ext cx="2700000" cy="4650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3" name="Content Left"/>
          <p:cNvSpPr>
            <a:spLocks noGrp="1"/>
          </p:cNvSpPr>
          <p:nvPr>
            <p:ph idx="25" hasCustomPrompt="1"/>
          </p:nvPr>
        </p:nvSpPr>
        <p:spPr bwMode="gray">
          <a:xfrm>
            <a:off x="215589" y="1341114"/>
            <a:ext cx="2700000" cy="4650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0909ABD9-C6C9-4D5C-A54D-56ED4579391B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85ED642D-236E-4EB2-A1E3-2322D0CE2DAC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710320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, 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CBDC37-26C9-4ECD-B490-9831AA4A9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CBDC37-26C9-4ECD-B490-9831AA4A9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AF11EA5-FA9A-427E-BA08-AF55F351AF3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ntent Right"/>
          <p:cNvSpPr>
            <a:spLocks noGrp="1"/>
          </p:cNvSpPr>
          <p:nvPr>
            <p:ph idx="27" hasCustomPrompt="1"/>
          </p:nvPr>
        </p:nvSpPr>
        <p:spPr bwMode="gray">
          <a:xfrm>
            <a:off x="6223338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7" name="Content Middle"/>
          <p:cNvSpPr>
            <a:spLocks noGrp="1"/>
          </p:cNvSpPr>
          <p:nvPr>
            <p:ph idx="26" hasCustomPrompt="1"/>
          </p:nvPr>
        </p:nvSpPr>
        <p:spPr bwMode="gray">
          <a:xfrm>
            <a:off x="3219464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6" name="Content Left"/>
          <p:cNvSpPr>
            <a:spLocks noGrp="1"/>
          </p:cNvSpPr>
          <p:nvPr>
            <p:ph idx="25" hasCustomPrompt="1"/>
          </p:nvPr>
        </p:nvSpPr>
        <p:spPr bwMode="gray">
          <a:xfrm>
            <a:off x="215589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23338" y="1337513"/>
            <a:ext cx="2700000" cy="48463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Click to add headline or column title</a:t>
            </a:r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19464" y="1337513"/>
            <a:ext cx="2700000" cy="4846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Click to add headline or column title</a:t>
            </a:r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5590" y="1337513"/>
            <a:ext cx="2700000" cy="4846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Click to add headline or column title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AC56C90A-ED36-474E-B5E8-986C41198C5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1DC2DC86-F832-4BBD-8802-F16CBA206E0D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173187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, Title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7A0F40-C0FE-4922-B811-918FFD485E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7A0F40-C0FE-4922-B811-918FFD485E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684C6BA-D2B2-4634-97F6-0A6246D269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8" hasCustomPrompt="1"/>
          </p:nvPr>
        </p:nvSpPr>
        <p:spPr bwMode="gray">
          <a:xfrm>
            <a:off x="6223338" y="1984249"/>
            <a:ext cx="2700000" cy="4007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75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23338" y="1337514"/>
            <a:ext cx="2700000" cy="548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headline or column title</a:t>
            </a:r>
          </a:p>
        </p:txBody>
      </p:sp>
      <p:sp>
        <p:nvSpPr>
          <p:cNvPr id="12" name="Content Middle"/>
          <p:cNvSpPr>
            <a:spLocks noGrp="1"/>
          </p:cNvSpPr>
          <p:nvPr>
            <p:ph idx="26" hasCustomPrompt="1"/>
          </p:nvPr>
        </p:nvSpPr>
        <p:spPr bwMode="gray">
          <a:xfrm>
            <a:off x="215591" y="1984249"/>
            <a:ext cx="5709599" cy="4007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75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92" y="1337514"/>
            <a:ext cx="5709599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4F2A7FFF-EE2C-4204-9D30-1425D5BED4F6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1" name="Content">
            <a:extLst>
              <a:ext uri="{FF2B5EF4-FFF2-40B4-BE49-F238E27FC236}">
                <a16:creationId xmlns:a16="http://schemas.microsoft.com/office/drawing/2014/main" id="{A5F8AD8A-1AAB-4EB3-9856-C9326DC694D3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3903860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8F73A2-04A1-4E96-B64D-006D4F1DF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8F73A2-04A1-4E96-B64D-006D4F1DF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CC23497-0997-4ED4-B9CB-BBFA337B43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76F2A4-20E9-4270-ADF8-24B579A917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1" y="1341114"/>
            <a:ext cx="8707750" cy="4651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Content">
            <a:extLst>
              <a:ext uri="{FF2B5EF4-FFF2-40B4-BE49-F238E27FC236}">
                <a16:creationId xmlns:a16="http://schemas.microsoft.com/office/drawing/2014/main" id="{9A3F822C-A70D-413C-A564-D4A7F513A302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8" name="Heading ">
            <a:extLst>
              <a:ext uri="{FF2B5EF4-FFF2-40B4-BE49-F238E27FC236}">
                <a16:creationId xmlns:a16="http://schemas.microsoft.com/office/drawing/2014/main" id="{C18F9424-6472-4722-8613-3F2EBACD85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1" y="89848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05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add high level tit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D4A7CCAE-BEAF-4499-96CB-450E18DF3D25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52238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itle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20D8E1-3218-476F-ADAF-C22E4BC7D1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20D8E1-3218-476F-ADAF-C22E4BC7D1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0C6AC38-0A44-4986-BDC7-9852BC4B10C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Heading ">
            <a:extLst>
              <a:ext uri="{FF2B5EF4-FFF2-40B4-BE49-F238E27FC236}">
                <a16:creationId xmlns:a16="http://schemas.microsoft.com/office/drawing/2014/main" id="{C372A2B6-C9F0-4CF6-A4F5-F533B065D02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1" y="89848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05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add high level title</a:t>
            </a:r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6"/>
            <a:ext cx="8707750" cy="54715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1F7AB54A-5D4B-4FED-AFBB-F1FE5CB45775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sp>
        <p:nvSpPr>
          <p:cNvPr id="12" name="Content">
            <a:extLst>
              <a:ext uri="{FF2B5EF4-FFF2-40B4-BE49-F238E27FC236}">
                <a16:creationId xmlns:a16="http://schemas.microsoft.com/office/drawing/2014/main" id="{C9BF7FC0-3080-426E-8C4C-6AD0204626AB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1698EDD-E274-4FC0-92CC-2D1577A20E7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1" y="1984919"/>
            <a:ext cx="8707750" cy="40074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352158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Title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7658AF-894D-4304-8CF4-B265EDEAA9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7658AF-894D-4304-8CF4-B265EDEAA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0D1D91-D772-4A4A-BC40-12E6D8A06A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Content Right"/>
          <p:cNvSpPr>
            <a:spLocks noGrp="1"/>
          </p:cNvSpPr>
          <p:nvPr>
            <p:ph idx="11" hasCustomPrompt="1"/>
          </p:nvPr>
        </p:nvSpPr>
        <p:spPr bwMode="gray">
          <a:xfrm>
            <a:off x="4783338" y="1984249"/>
            <a:ext cx="4140000" cy="4008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35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5" name="Content Left"/>
          <p:cNvSpPr>
            <a:spLocks noGrp="1"/>
          </p:cNvSpPr>
          <p:nvPr>
            <p:ph idx="1" hasCustomPrompt="1"/>
          </p:nvPr>
        </p:nvSpPr>
        <p:spPr bwMode="gray">
          <a:xfrm>
            <a:off x="215588" y="1984249"/>
            <a:ext cx="4140000" cy="4008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35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05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4" name="Heading Right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3338" y="1341114"/>
            <a:ext cx="4140000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13" name="Heading Left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4"/>
            <a:ext cx="4140000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12" name="Content">
            <a:extLst>
              <a:ext uri="{FF2B5EF4-FFF2-40B4-BE49-F238E27FC236}">
                <a16:creationId xmlns:a16="http://schemas.microsoft.com/office/drawing/2014/main" id="{FB220409-CC97-4B8A-9FB1-178FF15DCB84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0" name="Heading ">
            <a:extLst>
              <a:ext uri="{FF2B5EF4-FFF2-40B4-BE49-F238E27FC236}">
                <a16:creationId xmlns:a16="http://schemas.microsoft.com/office/drawing/2014/main" id="{395503FF-309F-4BF6-AAD7-8BF556015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1" y="89848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05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add high level title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6D500DF7-A07E-44A8-8082-D9961C82AA47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19394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, Title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6742699-DA95-4F47-9326-80D03E4A7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6742699-DA95-4F47-9326-80D03E4A7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2332938-4866-4318-824F-1ED9D95127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Content Right Top"/>
          <p:cNvSpPr>
            <a:spLocks noGrp="1"/>
          </p:cNvSpPr>
          <p:nvPr>
            <p:ph idx="29" hasCustomPrompt="1"/>
          </p:nvPr>
        </p:nvSpPr>
        <p:spPr bwMode="gray">
          <a:xfrm>
            <a:off x="4783338" y="1833237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9" name="Content Left Top"/>
          <p:cNvSpPr>
            <a:spLocks noGrp="1"/>
          </p:cNvSpPr>
          <p:nvPr>
            <p:ph idx="1" hasCustomPrompt="1"/>
          </p:nvPr>
        </p:nvSpPr>
        <p:spPr bwMode="gray">
          <a:xfrm>
            <a:off x="215591" y="1833237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11" name="Heading Right Top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83338" y="1341115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10" name="Heading Left Top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5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21" name="Content Right Top"/>
          <p:cNvSpPr>
            <a:spLocks noGrp="1"/>
          </p:cNvSpPr>
          <p:nvPr>
            <p:ph idx="34" hasCustomPrompt="1"/>
          </p:nvPr>
        </p:nvSpPr>
        <p:spPr bwMode="gray">
          <a:xfrm>
            <a:off x="4783338" y="4227584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22" name="Content Left Top"/>
          <p:cNvSpPr>
            <a:spLocks noGrp="1"/>
          </p:cNvSpPr>
          <p:nvPr>
            <p:ph idx="35" hasCustomPrompt="1"/>
          </p:nvPr>
        </p:nvSpPr>
        <p:spPr bwMode="gray">
          <a:xfrm>
            <a:off x="215591" y="4227584"/>
            <a:ext cx="4140000" cy="1764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altLang="ja-JP" sz="1050" smtClean="0">
                <a:latin typeface="+mn-lt"/>
                <a:ea typeface="+mn-ea"/>
                <a:sym typeface="+mn-lt"/>
              </a:defRPr>
            </a:lvl1pPr>
            <a:lvl2pPr>
              <a:defRPr lang="en-US" altLang="ja-JP" sz="900" smtClean="0">
                <a:latin typeface="+mn-lt"/>
                <a:ea typeface="+mn-ea"/>
                <a:sym typeface="+mn-lt"/>
              </a:defRPr>
            </a:lvl2pPr>
            <a:lvl3pPr>
              <a:defRPr lang="en-US" altLang="ja-JP" sz="750" smtClean="0">
                <a:latin typeface="+mn-lt"/>
                <a:ea typeface="+mn-ea"/>
                <a:sym typeface="+mn-lt"/>
              </a:defRPr>
            </a:lvl3pPr>
            <a:lvl4pPr>
              <a:defRPr lang="en-US" altLang="ja-JP" sz="750" smtClean="0">
                <a:latin typeface="+mn-lt"/>
                <a:ea typeface="+mn-ea"/>
                <a:sym typeface="+mn-lt"/>
              </a:defRPr>
            </a:lvl4pPr>
            <a:lvl5pPr>
              <a:defRPr lang="en-GB" sz="750" dirty="0" smtClean="0">
                <a:latin typeface="+mn-lt"/>
                <a:ea typeface="+mn-ea"/>
                <a:sym typeface="+mn-lt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>
              <a:lnSpc>
                <a:spcPct val="100000"/>
              </a:lnSpc>
            </a:pPr>
            <a:r>
              <a:rPr lang="en-US" altLang="ja-JP" dirty="0"/>
              <a:t>Second level</a:t>
            </a:r>
          </a:p>
          <a:p>
            <a:pPr lvl="2">
              <a:lnSpc>
                <a:spcPct val="100000"/>
              </a:lnSpc>
            </a:pPr>
            <a:r>
              <a:rPr lang="en-US" altLang="ja-JP" dirty="0"/>
              <a:t>Third level</a:t>
            </a:r>
          </a:p>
        </p:txBody>
      </p:sp>
      <p:sp>
        <p:nvSpPr>
          <p:cNvPr id="23" name="Heading Right Top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783338" y="3735459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24" name="Heading Left Top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15591" y="3735459"/>
            <a:ext cx="4140000" cy="420779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 b="1">
                <a:solidFill>
                  <a:schemeClr val="bg1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A75329C6-4FFB-4C83-9D3B-E61D5BB1D496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5" name="Heading ">
            <a:extLst>
              <a:ext uri="{FF2B5EF4-FFF2-40B4-BE49-F238E27FC236}">
                <a16:creationId xmlns:a16="http://schemas.microsoft.com/office/drawing/2014/main" id="{212CABDF-AFC1-4A9A-946B-DCE84768D86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1" y="89848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05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add high-level 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2143BD00-4AF0-4A53-8849-EE5E7D93DD0D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0463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, Title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CBDC37-26C9-4ECD-B490-9831AA4A9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CBDC37-26C9-4ECD-B490-9831AA4A9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AF11EA5-FA9A-427E-BA08-AF55F351AF3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ntent Right"/>
          <p:cNvSpPr>
            <a:spLocks noGrp="1"/>
          </p:cNvSpPr>
          <p:nvPr>
            <p:ph idx="27" hasCustomPrompt="1"/>
          </p:nvPr>
        </p:nvSpPr>
        <p:spPr bwMode="gray">
          <a:xfrm>
            <a:off x="6223338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7" name="Content Middle"/>
          <p:cNvSpPr>
            <a:spLocks noGrp="1"/>
          </p:cNvSpPr>
          <p:nvPr>
            <p:ph idx="26" hasCustomPrompt="1"/>
          </p:nvPr>
        </p:nvSpPr>
        <p:spPr bwMode="gray">
          <a:xfrm>
            <a:off x="3219464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16" name="Content Left"/>
          <p:cNvSpPr>
            <a:spLocks noGrp="1"/>
          </p:cNvSpPr>
          <p:nvPr>
            <p:ph idx="25" hasCustomPrompt="1"/>
          </p:nvPr>
        </p:nvSpPr>
        <p:spPr bwMode="gray">
          <a:xfrm>
            <a:off x="215589" y="1920240"/>
            <a:ext cx="2700000" cy="4072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21" name="Heading Right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23338" y="1337513"/>
            <a:ext cx="2700000" cy="48463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Click to add headline or column title</a:t>
            </a:r>
          </a:p>
        </p:txBody>
      </p:sp>
      <p:sp>
        <p:nvSpPr>
          <p:cNvPr id="22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19464" y="1337513"/>
            <a:ext cx="2700000" cy="4846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Click to add headline or column title</a:t>
            </a:r>
          </a:p>
        </p:txBody>
      </p:sp>
      <p:sp>
        <p:nvSpPr>
          <p:cNvPr id="20" name="Heading Left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5590" y="1337513"/>
            <a:ext cx="2700000" cy="4846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Click to add headline or column title</a:t>
            </a:r>
          </a:p>
        </p:txBody>
      </p:sp>
      <p:sp>
        <p:nvSpPr>
          <p:cNvPr id="14" name="Content">
            <a:extLst>
              <a:ext uri="{FF2B5EF4-FFF2-40B4-BE49-F238E27FC236}">
                <a16:creationId xmlns:a16="http://schemas.microsoft.com/office/drawing/2014/main" id="{1DC2DC86-F832-4BBD-8802-F16CBA206E0D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3" name="Heading ">
            <a:extLst>
              <a:ext uri="{FF2B5EF4-FFF2-40B4-BE49-F238E27FC236}">
                <a16:creationId xmlns:a16="http://schemas.microsoft.com/office/drawing/2014/main" id="{57A299D3-D479-4BC3-B453-5488E45110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1" y="89848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05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add high level titl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6C374BC2-3137-4568-83FD-DCF19C32CF3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46780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9" y="1709741"/>
            <a:ext cx="6674687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9" y="4589466"/>
            <a:ext cx="6674687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FD9D48-94FC-42D8-843F-C98CAC3E5AAD}" type="datetime1">
              <a:rPr lang="en-US" smtClean="0"/>
              <a:t>10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NEP FI 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D68F1-A257-47B0-A722-6C6D8A89FB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89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2/3 Split, Title, 2 Line Header,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E7A0F40-C0FE-4922-B811-918FFD485E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E7A0F40-C0FE-4922-B811-918FFD485E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684C6BA-D2B2-4634-97F6-0A6246D2695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Content Right"/>
          <p:cNvSpPr>
            <a:spLocks noGrp="1"/>
          </p:cNvSpPr>
          <p:nvPr>
            <p:ph idx="28" hasCustomPrompt="1"/>
          </p:nvPr>
        </p:nvSpPr>
        <p:spPr bwMode="gray">
          <a:xfrm>
            <a:off x="6223338" y="1984249"/>
            <a:ext cx="2700000" cy="4007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75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</p:txBody>
      </p:sp>
      <p:sp>
        <p:nvSpPr>
          <p:cNvPr id="19" name="Heading Right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23338" y="1337514"/>
            <a:ext cx="2700000" cy="54864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headline or column title</a:t>
            </a:r>
          </a:p>
        </p:txBody>
      </p:sp>
      <p:sp>
        <p:nvSpPr>
          <p:cNvPr id="12" name="Content Middle"/>
          <p:cNvSpPr>
            <a:spLocks noGrp="1"/>
          </p:cNvSpPr>
          <p:nvPr>
            <p:ph idx="26" hasCustomPrompt="1"/>
          </p:nvPr>
        </p:nvSpPr>
        <p:spPr bwMode="gray">
          <a:xfrm>
            <a:off x="215591" y="1984249"/>
            <a:ext cx="5709599" cy="4007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75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</p:txBody>
      </p:sp>
      <p:sp>
        <p:nvSpPr>
          <p:cNvPr id="13" name="Heading Middle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15592" y="1337514"/>
            <a:ext cx="5709599" cy="54864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900" b="0" baseline="0">
                <a:solidFill>
                  <a:schemeClr val="accent1"/>
                </a:solidFill>
                <a:latin typeface="+mn-lt"/>
                <a:sym typeface="+mn-lt"/>
              </a:defRPr>
            </a:lvl2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11" name="Content">
            <a:extLst>
              <a:ext uri="{FF2B5EF4-FFF2-40B4-BE49-F238E27FC236}">
                <a16:creationId xmlns:a16="http://schemas.microsoft.com/office/drawing/2014/main" id="{A5F8AD8A-1AAB-4EB3-9856-C9326DC694D3}"/>
              </a:ext>
            </a:extLst>
          </p:cNvPr>
          <p:cNvSpPr>
            <a:spLocks noGrp="1"/>
          </p:cNvSpPr>
          <p:nvPr>
            <p:ph idx="10" hasCustomPrompt="1"/>
          </p:nvPr>
        </p:nvSpPr>
        <p:spPr bwMode="gray">
          <a:xfrm>
            <a:off x="215591" y="6092879"/>
            <a:ext cx="8707750" cy="923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60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/>
            </a:lvl6pPr>
            <a:lvl7pPr fontAlgn="base">
              <a:lnSpc>
                <a:spcPct val="100000"/>
              </a:lnSpc>
              <a:spcAft>
                <a:spcPts val="0"/>
              </a:spcAft>
              <a:defRPr/>
            </a:lvl7pPr>
            <a:lvl8pPr fontAlgn="base">
              <a:lnSpc>
                <a:spcPct val="100000"/>
              </a:lnSpc>
              <a:spcAft>
                <a:spcPts val="0"/>
              </a:spcAft>
              <a:defRPr/>
            </a:lvl8pPr>
            <a:lvl9pPr fontAlgn="base">
              <a:lnSpc>
                <a:spcPct val="100000"/>
              </a:lnSpc>
              <a:spcAft>
                <a:spcPts val="0"/>
              </a:spcAft>
              <a:defRPr/>
            </a:lvl9pPr>
          </a:lstStyle>
          <a:p>
            <a:pPr lvl="0"/>
            <a:r>
              <a:rPr lang="en-GB" dirty="0"/>
              <a:t>Source:</a:t>
            </a:r>
          </a:p>
        </p:txBody>
      </p:sp>
      <p:sp>
        <p:nvSpPr>
          <p:cNvPr id="14" name="Heading ">
            <a:extLst>
              <a:ext uri="{FF2B5EF4-FFF2-40B4-BE49-F238E27FC236}">
                <a16:creationId xmlns:a16="http://schemas.microsoft.com/office/drawing/2014/main" id="{EB70BF8C-1445-44D6-89F9-6130FA7853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15591" y="89848"/>
            <a:ext cx="8707750" cy="24622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buNone/>
              <a:defRPr lang="en-US" sz="1050" b="0" kern="1200" cap="all" baseline="0" dirty="0">
                <a:solidFill>
                  <a:schemeClr val="accent2"/>
                </a:solidFill>
                <a:effectLst/>
                <a:ea typeface="+mj-ea"/>
                <a:cs typeface="+mj-cs"/>
              </a:defRPr>
            </a:lvl1pPr>
          </a:lstStyle>
          <a:p>
            <a:pPr marL="0" lv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add high level titl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7484566C-2088-459C-B7B9-0B2D6D56CA49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0" y="334492"/>
            <a:ext cx="8707748" cy="677108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67203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8F73A2-04A1-4E96-B64D-006D4F1DF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8F73A2-04A1-4E96-B64D-006D4F1DF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CC23497-0997-4ED4-B9CB-BBFA337B434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76F2A4-20E9-4270-ADF8-24B579A9176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1" y="1341114"/>
            <a:ext cx="8707750" cy="46512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55B52FB9-352C-43AE-B047-3EF2824426D4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750" cy="1011600"/>
          </a:xfrm>
          <a:prstGeom prst="rect">
            <a:avLst/>
          </a:prstGeom>
        </p:spPr>
        <p:txBody>
          <a:bodyPr wrap="square"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53154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Title,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12A1D1F-438D-436C-9502-B48AA4BA83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12A1D1F-438D-436C-9502-B48AA4BA83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FC5E17-231D-442F-AF03-D71F8247D71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Heading 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15591" y="1341116"/>
            <a:ext cx="8707750" cy="54715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350" b="1">
                <a:solidFill>
                  <a:srgbClr val="648C1A"/>
                </a:solidFill>
                <a:latin typeface="+mn-lt"/>
                <a:sym typeface="+mn-lt"/>
              </a:defRPr>
            </a:lvl1pPr>
            <a:lvl2pPr marL="0" indent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sz="1050">
                <a:solidFill>
                  <a:schemeClr val="accent1"/>
                </a:solidFill>
                <a:latin typeface="+mn-lt"/>
                <a:sym typeface="+mn-lt"/>
              </a:defRPr>
            </a:lvl2pPr>
            <a:lvl3pPr>
              <a:defRPr sz="750">
                <a:solidFill>
                  <a:schemeClr val="accent2"/>
                </a:solidFill>
              </a:defRPr>
            </a:lvl3pPr>
            <a:lvl4pPr>
              <a:defRPr sz="750">
                <a:solidFill>
                  <a:schemeClr val="accent2"/>
                </a:solidFill>
              </a:defRPr>
            </a:lvl4pPr>
            <a:lvl5pPr>
              <a:defRPr sz="75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add main takeaway, headline, or figure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B9A5C5-09FA-4F23-9056-C9675EF3034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5591" y="1984919"/>
            <a:ext cx="8707750" cy="400745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1F7AB54A-5D4B-4FED-AFBB-F1FE5CB45775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750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41897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, No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422BCD6-4A88-47D4-B16F-73A31A9CD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422BCD6-4A88-47D4-B16F-73A31A9CD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4ADD763-B1D3-455B-BDCB-24E3A55922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Right"/>
          <p:cNvSpPr>
            <a:spLocks noGrp="1"/>
          </p:cNvSpPr>
          <p:nvPr>
            <p:ph idx="11" hasCustomPrompt="1"/>
          </p:nvPr>
        </p:nvSpPr>
        <p:spPr bwMode="gray">
          <a:xfrm>
            <a:off x="4783338" y="1341114"/>
            <a:ext cx="4140000" cy="465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35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90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</p:txBody>
      </p:sp>
      <p:sp>
        <p:nvSpPr>
          <p:cNvPr id="5" name="Content Left"/>
          <p:cNvSpPr>
            <a:spLocks noGrp="1"/>
          </p:cNvSpPr>
          <p:nvPr>
            <p:ph idx="1" hasCustomPrompt="1"/>
          </p:nvPr>
        </p:nvSpPr>
        <p:spPr bwMode="gray">
          <a:xfrm>
            <a:off x="215591" y="1341114"/>
            <a:ext cx="4140000" cy="465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lnSpc>
                <a:spcPct val="100000"/>
              </a:lnSpc>
              <a:spcAft>
                <a:spcPts val="0"/>
              </a:spcAft>
              <a:defRPr lang="en-US" sz="1350" dirty="0" smtClean="0">
                <a:latin typeface="+mn-lt"/>
                <a:ea typeface="+mn-ea"/>
                <a:sym typeface="+mn-lt"/>
              </a:defRPr>
            </a:lvl1pPr>
            <a:lvl2pPr fontAlgn="base">
              <a:lnSpc>
                <a:spcPct val="100000"/>
              </a:lnSpc>
              <a:spcAft>
                <a:spcPts val="0"/>
              </a:spcAft>
              <a:defRPr lang="en-US" sz="1200" dirty="0" smtClean="0">
                <a:latin typeface="+mn-lt"/>
                <a:ea typeface="+mn-ea"/>
                <a:sym typeface="+mn-lt"/>
              </a:defRPr>
            </a:lvl2pPr>
            <a:lvl3pPr fontAlgn="base">
              <a:lnSpc>
                <a:spcPct val="100000"/>
              </a:lnSpc>
              <a:spcAft>
                <a:spcPts val="0"/>
              </a:spcAft>
              <a:defRPr lang="en-US" sz="1050" dirty="0" smtClean="0">
                <a:latin typeface="+mn-lt"/>
                <a:ea typeface="+mn-ea"/>
                <a:sym typeface="+mn-lt"/>
              </a:defRPr>
            </a:lvl3pPr>
            <a:lvl4pPr fontAlgn="base">
              <a:lnSpc>
                <a:spcPct val="100000"/>
              </a:lnSpc>
              <a:spcAft>
                <a:spcPts val="0"/>
              </a:spcAft>
              <a:defRPr lang="en-US" sz="900" dirty="0" smtClean="0">
                <a:latin typeface="+mn-lt"/>
                <a:ea typeface="+mn-ea"/>
                <a:sym typeface="+mn-lt"/>
              </a:defRPr>
            </a:lvl4pPr>
            <a:lvl5pPr fontAlgn="base">
              <a:lnSpc>
                <a:spcPct val="100000"/>
              </a:lnSpc>
              <a:spcAft>
                <a:spcPts val="0"/>
              </a:spcAft>
              <a:defRPr lang="en-GB" sz="750" dirty="0" smtClean="0">
                <a:latin typeface="+mn-lt"/>
                <a:ea typeface="+mn-ea"/>
                <a:sym typeface="+mn-lt"/>
              </a:defRPr>
            </a:lvl5pPr>
            <a:lvl6pPr fontAlgn="base">
              <a:lnSpc>
                <a:spcPct val="100000"/>
              </a:lnSpc>
              <a:spcAft>
                <a:spcPts val="0"/>
              </a:spcAft>
              <a:defRPr sz="900"/>
            </a:lvl6pPr>
            <a:lvl7pPr fontAlgn="base">
              <a:lnSpc>
                <a:spcPct val="100000"/>
              </a:lnSpc>
              <a:spcAft>
                <a:spcPts val="0"/>
              </a:spcAft>
              <a:defRPr sz="900"/>
            </a:lvl7pPr>
            <a:lvl8pPr fontAlgn="base">
              <a:lnSpc>
                <a:spcPct val="100000"/>
              </a:lnSpc>
              <a:spcAft>
                <a:spcPts val="0"/>
              </a:spcAft>
              <a:defRPr sz="900"/>
            </a:lvl8pPr>
            <a:lvl9pPr fontAlgn="base">
              <a:lnSpc>
                <a:spcPct val="100000"/>
              </a:lnSpc>
              <a:spcAft>
                <a:spcPts val="0"/>
              </a:spcAft>
              <a:defRPr sz="9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  <a:p>
            <a:pPr lvl="3"/>
            <a:r>
              <a:rPr lang="en-US" altLang="ja-JP" dirty="0"/>
              <a:t>Fourth level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616D1980-4CAD-475B-8F1D-1078AAC448D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5591" y="1"/>
            <a:ext cx="8707438" cy="1011600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37355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6" y="2"/>
            <a:ext cx="4571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710290" y="858420"/>
            <a:ext cx="2222577" cy="4842504"/>
          </a:xfrm>
          <a:prstGeom prst="rect">
            <a:avLst/>
          </a:prstGeom>
        </p:spPr>
        <p:txBody>
          <a:bodyPr vert="horz" lIns="0" rIns="0" bIns="0" anchor="ctr">
            <a:noAutofit/>
          </a:bodyPr>
          <a:lstStyle>
            <a:lvl1pPr marL="0" indent="0">
              <a:buFontTx/>
              <a:buNone/>
              <a:defRPr sz="1500" cap="all" baseline="0">
                <a:solidFill>
                  <a:srgbClr val="555759"/>
                </a:solidFill>
              </a:defRPr>
            </a:lvl1pPr>
            <a:lvl2pPr marL="342884" indent="0">
              <a:buFontTx/>
              <a:buNone/>
              <a:defRPr sz="1800" cap="all" baseline="0">
                <a:solidFill>
                  <a:schemeClr val="bg1"/>
                </a:solidFill>
              </a:defRPr>
            </a:lvl2pPr>
            <a:lvl3pPr marL="685766" indent="0">
              <a:buFontTx/>
              <a:buNone/>
              <a:defRPr sz="1800" cap="all" baseline="0">
                <a:solidFill>
                  <a:schemeClr val="bg1"/>
                </a:solidFill>
              </a:defRPr>
            </a:lvl3pPr>
            <a:lvl4pPr marL="1028649" indent="0">
              <a:buFontTx/>
              <a:buNone/>
              <a:defRPr sz="1800" cap="all" baseline="0">
                <a:solidFill>
                  <a:schemeClr val="bg1"/>
                </a:solidFill>
              </a:defRPr>
            </a:lvl4pPr>
            <a:lvl5pPr marL="1371532" indent="0">
              <a:buFontTx/>
              <a:buNone/>
              <a:defRPr sz="18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Divider Slide</a:t>
            </a:r>
          </a:p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867"/>
            <a:ext cx="4572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A67AAA6-2D2A-460E-BA20-5C4545A13E5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6296" y="858420"/>
            <a:ext cx="2951409" cy="484250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A1F98F-66E6-494F-8974-84A510D7E50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17224" y="6365442"/>
            <a:ext cx="806117" cy="36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1511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6" y="2"/>
            <a:ext cx="4571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710290" y="858420"/>
            <a:ext cx="2222577" cy="4842504"/>
          </a:xfrm>
          <a:prstGeom prst="rect">
            <a:avLst/>
          </a:prstGeom>
        </p:spPr>
        <p:txBody>
          <a:bodyPr vert="horz" lIns="0" rIns="0" bIns="0" anchor="ctr">
            <a:noAutofit/>
          </a:bodyPr>
          <a:lstStyle>
            <a:lvl1pPr marL="0" indent="0">
              <a:buFontTx/>
              <a:buNone/>
              <a:defRPr sz="1500" cap="all" baseline="0">
                <a:solidFill>
                  <a:srgbClr val="555759"/>
                </a:solidFill>
              </a:defRPr>
            </a:lvl1pPr>
            <a:lvl2pPr marL="342884" indent="0">
              <a:buFontTx/>
              <a:buNone/>
              <a:defRPr sz="1800" cap="all" baseline="0">
                <a:solidFill>
                  <a:schemeClr val="bg1"/>
                </a:solidFill>
              </a:defRPr>
            </a:lvl2pPr>
            <a:lvl3pPr marL="685766" indent="0">
              <a:buFontTx/>
              <a:buNone/>
              <a:defRPr sz="1800" cap="all" baseline="0">
                <a:solidFill>
                  <a:schemeClr val="bg1"/>
                </a:solidFill>
              </a:defRPr>
            </a:lvl3pPr>
            <a:lvl4pPr marL="1028649" indent="0">
              <a:buFontTx/>
              <a:buNone/>
              <a:defRPr sz="1800" cap="all" baseline="0">
                <a:solidFill>
                  <a:schemeClr val="bg1"/>
                </a:solidFill>
              </a:defRPr>
            </a:lvl4pPr>
            <a:lvl5pPr marL="1371532" indent="0">
              <a:buFontTx/>
              <a:buNone/>
              <a:defRPr sz="18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Divider Slide</a:t>
            </a:r>
          </a:p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867"/>
            <a:ext cx="4572000" cy="6857135"/>
          </a:xfrm>
          <a:prstGeom prst="rect">
            <a:avLst/>
          </a:pr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F31C8E9-7FD8-42CA-9DFB-6161E99B21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3" b="-1"/>
          <a:stretch/>
        </p:blipFill>
        <p:spPr>
          <a:xfrm>
            <a:off x="-16933" y="-10510"/>
            <a:ext cx="4588933" cy="68755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13589A5-B11F-4D35-8760-AA1BB23BE30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6296" y="858420"/>
            <a:ext cx="2951409" cy="484250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87D924B-5C83-42B3-8046-49D9CF73FA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17224" y="6365442"/>
            <a:ext cx="806117" cy="36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6858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60521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637" y="365128"/>
            <a:ext cx="7409339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8637" y="1847851"/>
            <a:ext cx="3649908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58068" y="1847851"/>
            <a:ext cx="3649908" cy="435133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AD4B5-579A-47CB-8578-91597344F167}" type="datetime1">
              <a:rPr lang="en-US" smtClean="0"/>
              <a:t>10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NEP FI 20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D68F1-A257-47B0-A722-6C6D8A89FB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534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637" y="365128"/>
            <a:ext cx="7307508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8639" y="1681163"/>
            <a:ext cx="3584253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8639" y="2505075"/>
            <a:ext cx="3584253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004240" y="1681163"/>
            <a:ext cx="3601905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004240" y="2505075"/>
            <a:ext cx="3601905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C639B-11C7-44AD-957F-7A2586D4F6A8}" type="datetime1">
              <a:rPr lang="en-US" smtClean="0"/>
              <a:t>10/9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NEP FI 2018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D68F1-A257-47B0-A722-6C6D8A89FB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38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5E14F7-61A1-4558-81BF-87741B1E3FDA}" type="datetime1">
              <a:rPr lang="en-US" smtClean="0"/>
              <a:t>10/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NEP FI 2018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D68F1-A257-47B0-A722-6C6D8A89FB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56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E0D1F-6AF5-4420-8A3D-C3FDBB244534}" type="datetime1">
              <a:rPr lang="en-US" smtClean="0"/>
              <a:t>10/9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NEP FI 201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D68F1-A257-47B0-A722-6C6D8A89FB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12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2" y="987428"/>
            <a:ext cx="3718754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33CB64-E404-493E-88BA-D3F4F4473394}" type="datetime1">
              <a:rPr lang="en-US" smtClean="0"/>
              <a:t>10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NEP FI 20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D68F1-A257-47B0-A722-6C6D8A89FB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24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2" y="987428"/>
            <a:ext cx="3727067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5AEEE3-AA0C-4DD9-B852-4896E9EA983B}" type="datetime1">
              <a:rPr lang="en-US" smtClean="0"/>
              <a:t>10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UNEP FI 20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D68F1-A257-47B0-A722-6C6D8A89FB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23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image" Target="../media/image5.jp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image" Target="../media/image4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vmlDrawing" Target="../drawings/vmlDrawing1.vml"/><Relationship Id="rId30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8638" y="365128"/>
            <a:ext cx="729878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8638" y="1825625"/>
            <a:ext cx="729878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98637" y="6356353"/>
            <a:ext cx="19040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ea typeface="Roboto" pitchFamily="2" charset="0"/>
              </a:defRPr>
            </a:lvl1pPr>
          </a:lstStyle>
          <a:p>
            <a:fld id="{F14B66E9-C45B-4F73-A5FD-2D8DAA205642}" type="datetime1">
              <a:rPr lang="en-US" smtClean="0"/>
              <a:t>10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98938" y="6356353"/>
            <a:ext cx="28560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Gill Sans MT" panose="020B0502020104020203" pitchFamily="34" charset="0"/>
                <a:ea typeface="Roboto" pitchFamily="2" charset="0"/>
              </a:defRPr>
            </a:lvl1pPr>
          </a:lstStyle>
          <a:p>
            <a:r>
              <a:rPr lang="en-US"/>
              <a:t>UNEP FI 2018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7924800" y="0"/>
            <a:ext cx="1219200" cy="6859588"/>
          </a:xfrm>
          <a:prstGeom prst="rect">
            <a:avLst/>
          </a:prstGeom>
          <a:solidFill>
            <a:srgbClr val="417CC0"/>
          </a:solidFill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185337" y="285750"/>
            <a:ext cx="762000" cy="1181100"/>
          </a:xfrm>
          <a:prstGeom prst="rect">
            <a:avLst/>
          </a:prstGeom>
        </p:spPr>
      </p:pic>
      <p:pic>
        <p:nvPicPr>
          <p:cNvPr id="9" name="Picture 7" descr="corporate_PPT_image"/>
          <p:cNvPicPr>
            <a:picLocks noChangeAspect="1" noChangeArrowheads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31"/>
          <a:stretch/>
        </p:blipFill>
        <p:spPr bwMode="auto">
          <a:xfrm>
            <a:off x="8271462" y="5706105"/>
            <a:ext cx="574396" cy="403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7" descr="corporate_PPT_image"/>
          <p:cNvPicPr>
            <a:picLocks noChangeAspect="1" noChangeArrowheads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711" b="11776"/>
          <a:stretch/>
        </p:blipFill>
        <p:spPr bwMode="auto">
          <a:xfrm>
            <a:off x="8271462" y="4851386"/>
            <a:ext cx="574396" cy="734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corporate_PPT_image"/>
          <p:cNvPicPr>
            <a:picLocks noChangeAspect="1" noChangeArrowheads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582" b="31267"/>
          <a:stretch/>
        </p:blipFill>
        <p:spPr bwMode="auto">
          <a:xfrm>
            <a:off x="8271462" y="4267534"/>
            <a:ext cx="574396" cy="451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 descr="corporate_PPT_image"/>
          <p:cNvPicPr>
            <a:picLocks noChangeAspect="1" noChangeArrowheads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505" r="18561" b="45343"/>
          <a:stretch/>
        </p:blipFill>
        <p:spPr bwMode="auto">
          <a:xfrm>
            <a:off x="8324770" y="3641554"/>
            <a:ext cx="467778" cy="451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7" descr="corporate_PPT_image"/>
          <p:cNvPicPr>
            <a:picLocks noChangeAspect="1" noChangeArrowheads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04" r="18561" b="59826"/>
          <a:stretch/>
        </p:blipFill>
        <p:spPr bwMode="auto">
          <a:xfrm>
            <a:off x="8324770" y="2943343"/>
            <a:ext cx="467778" cy="505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7" descr="corporate_PPT_image"/>
          <p:cNvPicPr>
            <a:picLocks noChangeAspect="1" noChangeArrowheads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81" r="25896" b="74986"/>
          <a:stretch/>
        </p:blipFill>
        <p:spPr bwMode="auto">
          <a:xfrm>
            <a:off x="8345840" y="2377540"/>
            <a:ext cx="425647" cy="397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7" descr="corporate_PPT_image"/>
          <p:cNvPicPr>
            <a:picLocks noChangeAspect="1" noChangeArrowheads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0179" b="87844"/>
          <a:stretch/>
        </p:blipFill>
        <p:spPr bwMode="auto">
          <a:xfrm>
            <a:off x="8300695" y="1662440"/>
            <a:ext cx="515928" cy="54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71462" y="6393288"/>
            <a:ext cx="6758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85000"/>
                  </a:schemeClr>
                </a:solidFill>
                <a:latin typeface="Gill Sans MT" panose="020B0502020104020203" pitchFamily="34" charset="0"/>
                <a:ea typeface="Roboto" pitchFamily="2" charset="0"/>
              </a:defRPr>
            </a:lvl1pPr>
          </a:lstStyle>
          <a:p>
            <a:fld id="{5E7D68F1-A257-47B0-A722-6C6D8A89FB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522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5">
              <a:lumMod val="75000"/>
            </a:schemeClr>
          </a:solidFill>
          <a:latin typeface="Gill Sans MT" panose="020B0502020104020203" pitchFamily="34" charset="0"/>
          <a:ea typeface="Roboto" pitchFamily="2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2060"/>
          </a:solidFill>
          <a:latin typeface="Gill Sans MT" panose="020B0502020104020203" pitchFamily="34" charset="0"/>
          <a:ea typeface="Roboto" pitchFamily="2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2060"/>
          </a:solidFill>
          <a:latin typeface="Gill Sans MT" panose="020B0502020104020203" pitchFamily="34" charset="0"/>
          <a:ea typeface="Roboto" pitchFamily="2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2060"/>
          </a:solidFill>
          <a:latin typeface="Gill Sans MT" panose="020B0502020104020203" pitchFamily="34" charset="0"/>
          <a:ea typeface="Roboto" pitchFamily="2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2060"/>
          </a:solidFill>
          <a:latin typeface="Gill Sans MT" panose="020B0502020104020203" pitchFamily="34" charset="0"/>
          <a:ea typeface="Roboto" pitchFamily="2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2060"/>
          </a:solidFill>
          <a:latin typeface="Gill Sans MT" panose="020B0502020104020203" pitchFamily="34" charset="0"/>
          <a:ea typeface="Roboto" pitchFamily="2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6DA754-2162-4375-ADC9-A63B7FB056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31" imgW="470" imgH="469" progId="TCLayout.ActiveDocument.1">
                  <p:embed/>
                </p:oleObj>
              </mc:Choice>
              <mc:Fallback>
                <p:oleObj name="think-cell Slide" r:id="rId31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6DA754-2162-4375-ADC9-A63B7FB05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399AF62-42B7-4DF7-A5F9-A9E742EB349D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Palatino Linotype" pitchFamily="18" charset="0"/>
            </a:endParaRPr>
          </a:p>
        </p:txBody>
      </p:sp>
      <p:sp>
        <p:nvSpPr>
          <p:cNvPr id="1026" name="Title"/>
          <p:cNvSpPr>
            <a:spLocks noGrp="1" noChangeArrowheads="1"/>
          </p:cNvSpPr>
          <p:nvPr>
            <p:ph type="title"/>
            <p:custDataLst>
              <p:tags r:id="rId30"/>
            </p:custDataLst>
          </p:nvPr>
        </p:nvSpPr>
        <p:spPr bwMode="gray">
          <a:xfrm>
            <a:off x="215591" y="1"/>
            <a:ext cx="8707750" cy="1011600"/>
          </a:xfrm>
          <a:prstGeom prst="rect">
            <a:avLst/>
          </a:prstGeom>
        </p:spPr>
        <p:txBody>
          <a:bodyPr lIns="0" tIns="0" rIns="0" bIns="0" anchor="b"/>
          <a:lstStyle/>
          <a:p>
            <a:pPr lvl="0"/>
            <a:r>
              <a:rPr lang="en-US" altLang="ja-JP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>
            <a:cxnSpLocks/>
          </p:cNvCxnSpPr>
          <p:nvPr userDrawn="1"/>
        </p:nvCxnSpPr>
        <p:spPr>
          <a:xfrm>
            <a:off x="215591" y="6250077"/>
            <a:ext cx="8707750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5C97D6-3868-4201-A881-18612A1499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5591" y="1341116"/>
            <a:ext cx="8707750" cy="483445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A07A66A-9460-4394-BBC1-851C4122A153}"/>
              </a:ext>
            </a:extLst>
          </p:cNvPr>
          <p:cNvSpPr txBox="1">
            <a:spLocks/>
          </p:cNvSpPr>
          <p:nvPr userDrawn="1"/>
        </p:nvSpPr>
        <p:spPr>
          <a:xfrm>
            <a:off x="322674" y="6445814"/>
            <a:ext cx="4370907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675" dirty="0">
                <a:solidFill>
                  <a:schemeClr val="tx2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675" kern="1200" cap="all" normalizeH="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Navigant Consulting, Inc., n/k/a Guidehouse Inc. </a:t>
            </a:r>
            <a:r>
              <a:rPr lang="en-US" sz="675" baseline="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All rights Reserved</a:t>
            </a:r>
            <a:endParaRPr lang="en-US" sz="675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 Placeholder 18"/>
          <p:cNvSpPr txBox="1">
            <a:spLocks/>
          </p:cNvSpPr>
          <p:nvPr userDrawn="1"/>
        </p:nvSpPr>
        <p:spPr>
          <a:xfrm>
            <a:off x="122280" y="6443475"/>
            <a:ext cx="304005" cy="210020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0D4A90D-707C-4CFA-8F87-17CF45DE2B45}" type="slidenum">
              <a:rPr lang="en-US" sz="675" smtClean="0">
                <a:solidFill>
                  <a:srgbClr val="95D600"/>
                </a:solidFill>
              </a:rPr>
              <a:pPr algn="r"/>
              <a:t>‹#›</a:t>
            </a:fld>
            <a:endParaRPr lang="en-US" sz="675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C74F2BE-DA8C-4EDE-987B-6140BC502BD4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8117224" y="6365442"/>
            <a:ext cx="806117" cy="36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602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  <p:sldLayoutId id="2147483745" r:id="rId21"/>
    <p:sldLayoutId id="2147483746" r:id="rId22"/>
    <p:sldLayoutId id="2147483747" r:id="rId23"/>
    <p:sldLayoutId id="2147483748" r:id="rId24"/>
    <p:sldLayoutId id="2147483749" r:id="rId25"/>
  </p:sldLayoutIdLst>
  <p:hf sldNum="0" hdr="0" ftr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lang="en-GB" altLang="ja-JP" sz="1650" b="0" kern="1200" cap="all" baseline="0" dirty="0" smtClean="0">
          <a:solidFill>
            <a:schemeClr val="bg2"/>
          </a:solidFill>
          <a:effectLst/>
          <a:latin typeface="+mn-lt"/>
          <a:ea typeface="+mj-ea"/>
          <a:cs typeface="+mj-cs"/>
          <a:sym typeface="+mj-lt"/>
        </a:defRPr>
      </a:lvl1pPr>
      <a:lvl2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5pPr>
      <a:lvl6pPr marL="3429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6pPr>
      <a:lvl7pPr marL="6858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7pPr>
      <a:lvl8pPr marL="1028701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8pPr>
      <a:lvl9pPr marL="1371600" algn="l" rtl="0" eaLnBrk="1" fontAlgn="base" hangingPunct="1">
        <a:lnSpc>
          <a:spcPct val="88000"/>
        </a:lnSpc>
        <a:spcBef>
          <a:spcPct val="0"/>
        </a:spcBef>
        <a:spcAft>
          <a:spcPct val="0"/>
        </a:spcAft>
        <a:defRPr>
          <a:solidFill>
            <a:srgbClr val="002C77"/>
          </a:solidFill>
          <a:latin typeface="Arial" charset="0"/>
          <a:cs typeface="Arial" charset="0"/>
        </a:defRPr>
      </a:lvl9pPr>
    </p:titleStyle>
    <p:bodyStyle>
      <a:lvl1pPr marL="135000" indent="-135000" algn="l" rtl="0" eaLnBrk="1" fontAlgn="base" hangingPunct="1">
        <a:spcBef>
          <a:spcPts val="300"/>
        </a:spcBef>
        <a:spcAft>
          <a:spcPts val="0"/>
        </a:spcAft>
        <a:buChar char="•"/>
        <a:defRPr sz="135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70000" indent="-135000" algn="l" rtl="0" eaLnBrk="1" fontAlgn="base" hangingPunct="1">
        <a:spcBef>
          <a:spcPts val="300"/>
        </a:spcBef>
        <a:spcAft>
          <a:spcPts val="0"/>
        </a:spcAft>
        <a:buFont typeface="Arial" charset="0"/>
        <a:buChar char="–"/>
        <a:defRPr sz="1200" baseline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405000" indent="-134541" algn="l" rtl="0" eaLnBrk="1" fontAlgn="base" hangingPunct="1">
        <a:spcBef>
          <a:spcPts val="300"/>
        </a:spcBef>
        <a:spcAft>
          <a:spcPts val="0"/>
        </a:spcAft>
        <a:buFont typeface="Wingdings" panose="05000000000000000000" pitchFamily="2" charset="2"/>
        <a:buChar char="§"/>
        <a:defRPr sz="105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40000" indent="-134541" algn="l" rtl="0" eaLnBrk="1" fontAlgn="base" hangingPunct="1">
        <a:spcBef>
          <a:spcPts val="300"/>
        </a:spcBef>
        <a:spcAft>
          <a:spcPts val="0"/>
        </a:spcAft>
        <a:buSzPct val="80000"/>
        <a:buFont typeface="Courier New" panose="02070309020205020404" pitchFamily="49" charset="0"/>
        <a:buChar char="o"/>
        <a:defRPr sz="90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75000" indent="-135000" algn="l" rtl="0" eaLnBrk="1" fontAlgn="base" hangingPunct="1">
        <a:spcBef>
          <a:spcPts val="300"/>
        </a:spcBef>
        <a:spcAft>
          <a:spcPts val="0"/>
        </a:spcAft>
        <a:buFont typeface="Arial" panose="020B0604020202020204" pitchFamily="34" charset="0"/>
        <a:buChar char="-"/>
        <a:defRPr sz="90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810000" indent="-135000" algn="l" rtl="0" eaLnBrk="1" fontAlgn="base" hangingPunct="1">
        <a:spcBef>
          <a:spcPts val="225"/>
        </a:spcBef>
        <a:spcAft>
          <a:spcPts val="0"/>
        </a:spcAft>
        <a:buFont typeface="Arial" charset="0"/>
        <a:buChar char="-"/>
        <a:defRPr sz="1050" baseline="0">
          <a:solidFill>
            <a:schemeClr val="tx1"/>
          </a:solidFill>
          <a:latin typeface="+mn-lt"/>
          <a:cs typeface="+mn-cs"/>
        </a:defRPr>
      </a:lvl6pPr>
      <a:lvl7pPr marL="945001" indent="-135000" algn="l" rtl="0" eaLnBrk="1" fontAlgn="base" hangingPunct="1">
        <a:spcBef>
          <a:spcPts val="225"/>
        </a:spcBef>
        <a:spcAft>
          <a:spcPts val="0"/>
        </a:spcAft>
        <a:buFont typeface="Arial" charset="0"/>
        <a:buChar char="-"/>
        <a:defRPr sz="1050">
          <a:solidFill>
            <a:schemeClr val="tx1"/>
          </a:solidFill>
          <a:latin typeface="+mn-lt"/>
          <a:cs typeface="+mn-cs"/>
        </a:defRPr>
      </a:lvl7pPr>
      <a:lvl8pPr marL="1080001" indent="-135000" algn="l" rtl="0" eaLnBrk="1" fontAlgn="base" hangingPunct="1">
        <a:spcBef>
          <a:spcPts val="225"/>
        </a:spcBef>
        <a:spcAft>
          <a:spcPts val="0"/>
        </a:spcAft>
        <a:buFont typeface="Arial" charset="0"/>
        <a:buChar char="-"/>
        <a:defRPr sz="1050">
          <a:solidFill>
            <a:schemeClr val="tx1"/>
          </a:solidFill>
          <a:latin typeface="+mn-lt"/>
          <a:cs typeface="+mn-cs"/>
        </a:defRPr>
      </a:lvl8pPr>
      <a:lvl9pPr marL="1215001" indent="-135000" algn="l" rtl="0" eaLnBrk="1" fontAlgn="base" hangingPunct="1">
        <a:spcBef>
          <a:spcPts val="225"/>
        </a:spcBef>
        <a:spcAft>
          <a:spcPts val="0"/>
        </a:spcAft>
        <a:buFont typeface="Arial" charset="0"/>
        <a:buChar char="-"/>
        <a:defRPr sz="1050" baseline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1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1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1" algn="l" defTabSz="685801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1" algn="l" defTabSz="685801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1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1" algn="l" defTabSz="685801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1" algn="l" defTabSz="685801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2" algn="l" defTabSz="685801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2" algn="l" defTabSz="68580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5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887">
          <p15:clr>
            <a:srgbClr val="F26B43"/>
          </p15:clr>
        </p15:guide>
        <p15:guide id="4" pos="180">
          <p15:clr>
            <a:srgbClr val="F26B43"/>
          </p15:clr>
        </p15:guide>
        <p15:guide id="5" pos="7507">
          <p15:clr>
            <a:srgbClr val="F26B43"/>
          </p15:clr>
        </p15:guide>
        <p15:guide id="6" orient="horz" pos="240">
          <p15:clr>
            <a:srgbClr val="F26B43"/>
          </p15:clr>
        </p15:guide>
        <p15:guide id="7" pos="4027">
          <p15:clr>
            <a:srgbClr val="F26B43"/>
          </p15:clr>
        </p15:guide>
        <p15:guide id="8" pos="36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matthew.ulterino@un.or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calvin.kwan@linkreit.com" TargetMode="External"/><Relationship Id="rId4" Type="http://schemas.openxmlformats.org/officeDocument/2006/relationships/hyperlink" Target="mailto:anna.murray@bentallgreenoak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8637" y="1549775"/>
            <a:ext cx="7343734" cy="2387600"/>
          </a:xfrm>
        </p:spPr>
        <p:txBody>
          <a:bodyPr>
            <a:normAutofit fontScale="90000"/>
          </a:bodyPr>
          <a:lstStyle/>
          <a:p>
            <a:r>
              <a:rPr lang="en-US" dirty="0"/>
              <a:t>GFHS: financing for resilient urban infrastru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5839" y="4550150"/>
            <a:ext cx="6337781" cy="1655762"/>
          </a:xfrm>
        </p:spPr>
        <p:txBody>
          <a:bodyPr/>
          <a:lstStyle/>
          <a:p>
            <a:pPr algn="l"/>
            <a:endParaRPr lang="en-US" dirty="0"/>
          </a:p>
          <a:p>
            <a:pPr algn="l"/>
            <a:r>
              <a:rPr lang="en-US" dirty="0"/>
              <a:t>16 October, 2020</a:t>
            </a:r>
          </a:p>
        </p:txBody>
      </p:sp>
    </p:spTree>
    <p:extLst>
      <p:ext uri="{BB962C8B-B14F-4D97-AF65-F5344CB8AC3E}">
        <p14:creationId xmlns:p14="http://schemas.microsoft.com/office/powerpoint/2010/main" val="191316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C0C0400D-3FA4-4CA4-8550-BF793F8FC6ED}"/>
              </a:ext>
            </a:extLst>
          </p:cNvPr>
          <p:cNvSpPr txBox="1">
            <a:spLocks/>
          </p:cNvSpPr>
          <p:nvPr/>
        </p:nvSpPr>
        <p:spPr>
          <a:xfrm>
            <a:off x="196662" y="198463"/>
            <a:ext cx="7612779" cy="518483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0626A9"/>
              </a:buClr>
              <a:buNone/>
            </a:pPr>
            <a:r>
              <a:rPr lang="de-CH" sz="3200" dirty="0">
                <a:solidFill>
                  <a:srgbClr val="0626A9"/>
                </a:solidFill>
                <a:latin typeface="Gill Sans MT" panose="020B0502020104020203" pitchFamily="34" charset="0"/>
              </a:rPr>
              <a:t>TCFD Summary: Physical Risk Modelling</a:t>
            </a:r>
          </a:p>
        </p:txBody>
      </p:sp>
      <p:pic>
        <p:nvPicPr>
          <p:cNvPr id="9" name="Picture 2" descr="Carbon Delta">
            <a:extLst>
              <a:ext uri="{FF2B5EF4-FFF2-40B4-BE49-F238E27FC236}">
                <a16:creationId xmlns:a16="http://schemas.microsoft.com/office/drawing/2014/main" id="{0EB3983A-F41C-4C8B-89FD-2E46D4F3C7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139" y="6645140"/>
            <a:ext cx="1504207" cy="212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prahl\Desktop\harris figure 3.png">
            <a:extLst>
              <a:ext uri="{FF2B5EF4-FFF2-40B4-BE49-F238E27FC236}">
                <a16:creationId xmlns:a16="http://schemas.microsoft.com/office/drawing/2014/main" id="{DBA62821-BD39-4AEF-B9BD-7BF32BB7ED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481" y="4348855"/>
            <a:ext cx="4833024" cy="2509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FB20731-DAB2-4D37-B58E-71DE02BD416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6567" t="29758" r="26269" b="32280"/>
          <a:stretch/>
        </p:blipFill>
        <p:spPr>
          <a:xfrm>
            <a:off x="496481" y="1488446"/>
            <a:ext cx="5109155" cy="2312055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4F51C93-3EBE-4577-9FEE-0CE1095A03C6}"/>
              </a:ext>
            </a:extLst>
          </p:cNvPr>
          <p:cNvCxnSpPr/>
          <p:nvPr/>
        </p:nvCxnSpPr>
        <p:spPr>
          <a:xfrm>
            <a:off x="196662" y="4094329"/>
            <a:ext cx="63406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933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C0C0400D-3FA4-4CA4-8550-BF793F8FC6ED}"/>
              </a:ext>
            </a:extLst>
          </p:cNvPr>
          <p:cNvSpPr txBox="1">
            <a:spLocks/>
          </p:cNvSpPr>
          <p:nvPr/>
        </p:nvSpPr>
        <p:spPr>
          <a:xfrm>
            <a:off x="196662" y="198463"/>
            <a:ext cx="7612779" cy="518483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0626A9"/>
              </a:buClr>
              <a:buNone/>
            </a:pPr>
            <a:r>
              <a:rPr lang="de-CH" sz="3200" dirty="0">
                <a:solidFill>
                  <a:srgbClr val="0626A9"/>
                </a:solidFill>
                <a:latin typeface="Gill Sans MT" panose="020B0502020104020203" pitchFamily="34" charset="0"/>
              </a:rPr>
              <a:t>TCFD Summary: Physical Risk Modelling</a:t>
            </a:r>
          </a:p>
        </p:txBody>
      </p:sp>
      <p:pic>
        <p:nvPicPr>
          <p:cNvPr id="9" name="Picture 2" descr="Carbon Delta">
            <a:extLst>
              <a:ext uri="{FF2B5EF4-FFF2-40B4-BE49-F238E27FC236}">
                <a16:creationId xmlns:a16="http://schemas.microsoft.com/office/drawing/2014/main" id="{0EB3983A-F41C-4C8B-89FD-2E46D4F3C7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139" y="6645140"/>
            <a:ext cx="1504207" cy="212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787B823-D2B4-406E-8130-77F59B6810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130" t="38122" r="26813" b="32887"/>
          <a:stretch/>
        </p:blipFill>
        <p:spPr>
          <a:xfrm>
            <a:off x="165826" y="1778526"/>
            <a:ext cx="7302087" cy="3300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55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C0C0400D-3FA4-4CA4-8550-BF793F8FC6ED}"/>
              </a:ext>
            </a:extLst>
          </p:cNvPr>
          <p:cNvSpPr txBox="1">
            <a:spLocks/>
          </p:cNvSpPr>
          <p:nvPr/>
        </p:nvSpPr>
        <p:spPr>
          <a:xfrm>
            <a:off x="196662" y="198463"/>
            <a:ext cx="7612779" cy="518483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0626A9"/>
              </a:buClr>
              <a:buNone/>
            </a:pPr>
            <a:r>
              <a:rPr lang="de-CH" sz="3200" dirty="0">
                <a:solidFill>
                  <a:srgbClr val="0626A9"/>
                </a:solidFill>
                <a:latin typeface="Gill Sans MT" panose="020B0502020104020203" pitchFamily="34" charset="0"/>
              </a:rPr>
              <a:t>Research programme: physical climate risk and asset valu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66631D-9E82-401B-BD5B-C0D33B2ACA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541" t="25604" r="16237" b="9259"/>
          <a:stretch/>
        </p:blipFill>
        <p:spPr>
          <a:xfrm>
            <a:off x="192795" y="2254226"/>
            <a:ext cx="7504400" cy="4028303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34A8A2A3-4AA5-4EC0-AF3A-147AF8F93486}"/>
              </a:ext>
            </a:extLst>
          </p:cNvPr>
          <p:cNvSpPr/>
          <p:nvPr/>
        </p:nvSpPr>
        <p:spPr>
          <a:xfrm>
            <a:off x="3333847" y="3933182"/>
            <a:ext cx="1075765" cy="387275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370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638" y="20068"/>
            <a:ext cx="7298786" cy="1325563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8637" y="1566443"/>
            <a:ext cx="7298786" cy="482684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200" dirty="0"/>
              <a:t>Contact information</a:t>
            </a:r>
          </a:p>
          <a:p>
            <a:pPr marL="0" lvl="0" indent="0">
              <a:buNone/>
            </a:pPr>
            <a:endParaRPr lang="en-GB" sz="22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7D68F1-A257-47B0-A722-6C6D8A89FB6A}" type="slidenum">
              <a:rPr lang="en-US" smtClean="0"/>
              <a:t>5</a:t>
            </a:fld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636244B-DE46-460A-A8E8-FBA80C0508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6631760"/>
              </p:ext>
            </p:extLst>
          </p:nvPr>
        </p:nvGraphicFramePr>
        <p:xfrm>
          <a:off x="298638" y="3164449"/>
          <a:ext cx="7455500" cy="362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16249">
                  <a:extLst>
                    <a:ext uri="{9D8B030D-6E8A-4147-A177-3AD203B41FA5}">
                      <a16:colId xmlns:a16="http://schemas.microsoft.com/office/drawing/2014/main" val="1379337359"/>
                    </a:ext>
                  </a:extLst>
                </a:gridCol>
                <a:gridCol w="3739251">
                  <a:extLst>
                    <a:ext uri="{9D8B030D-6E8A-4147-A177-3AD203B41FA5}">
                      <a16:colId xmlns:a16="http://schemas.microsoft.com/office/drawing/2014/main" val="826349235"/>
                    </a:ext>
                  </a:extLst>
                </a:gridCol>
              </a:tblGrid>
              <a:tr h="983249">
                <a:tc>
                  <a:txBody>
                    <a:bodyPr/>
                    <a:lstStyle/>
                    <a:p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thew Ulterino</a:t>
                      </a:r>
                      <a:b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perty Investment Project Coordinator</a:t>
                      </a:r>
                      <a:br>
                        <a:rPr lang="en-US" sz="1600" b="1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NEP Finance Initiative</a:t>
                      </a:r>
                      <a:br>
                        <a:rPr lang="en-US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br>
                        <a:rPr lang="en-US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en-GB" sz="1600" b="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+1 (585) 417-0615 (US)</a:t>
                      </a:r>
                      <a:b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l: +44 (0)20 8133 8620 (UK)</a:t>
                      </a:r>
                      <a:br>
                        <a:rPr lang="en-US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600" b="0" u="sng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matthew.ulterino@un.org</a:t>
                      </a:r>
                      <a:r>
                        <a:rPr lang="en-GB" sz="1600" b="0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7925741"/>
                  </a:ext>
                </a:extLst>
              </a:tr>
              <a:tr h="1526624">
                <a:tc>
                  <a:txBody>
                    <a:bodyPr/>
                    <a:lstStyle/>
                    <a:p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na Murray (PWG Co-Chair)</a:t>
                      </a:r>
                    </a:p>
                    <a:p>
                      <a:r>
                        <a:rPr lang="en-US" sz="1600" b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ntallGreenOak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lvin Kwan (PWG Co-Chair)</a:t>
                      </a:r>
                    </a:p>
                    <a:p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k REIT</a:t>
                      </a:r>
                    </a:p>
                    <a:p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u="sng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4"/>
                        </a:rPr>
                        <a:t>anna.murray@bentallgreenoak.com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sz="16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en-GB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GB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/>
                        </a:rPr>
                        <a:t>calvin.kwan@linkreit.com</a:t>
                      </a:r>
                      <a:endParaRPr lang="en-GB" sz="16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5052949"/>
                  </a:ext>
                </a:extLst>
              </a:tr>
              <a:tr h="439875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  <a:p>
                      <a:endParaRPr lang="en-GB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25135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137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nVm60.QaK551DroAIN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3V6d37TXW.T6zgCcxK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pUzcx0Qomth2eTc.6l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Ra2eiLQgyTYBXaEtiC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URVfIlR8qvE0gGveV3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Ra2eiLQgyTYBXaEtiCR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Lq9N7ARv.UDEXnWzsy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Lq9N7ARv.UDEXnWzsy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VQNhccTKm86_yWp12X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925UYuQqaoJXJ2tlKz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ae_iV5STKAP64Zlpgu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nVm60.QaK551DroAIN_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U3XNocSaS2qKwnTCDtk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Ra2eiLQgyTYBXaEtiCR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Lq9N7ARv.UDEXnWzsy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925UYuQqaoJXJ2tlKz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ae_iV5STKAP64Zlpgu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nVm60.QaK551DroAIN_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3V6d37TXW.T6zgCcxK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pUzcx0Qomth2eTc.6lm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nVm60.QaK551DroAIN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avigant">
  <a:themeElements>
    <a:clrScheme name="Navigant_2019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648C1A"/>
      </a:hlink>
      <a:folHlink>
        <a:srgbClr val="979A9C"/>
      </a:folHlink>
    </a:clrScheme>
    <a:fontScheme name="Naviga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 rotWithShape="1">
          <a:gsLst>
            <a:gs pos="0">
              <a:schemeClr val="phClr">
                <a:tint val="100000"/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hade val="100000"/>
                <a:satMod val="2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100000"/>
          </a:lnSpc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defRPr sz="1200"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Presentation2" id="{AC395109-30A6-4FF4-8827-68EA9EA25DFF}" vid="{CC597542-5E69-4EA7-87F8-AB9D69556AC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170</TotalTime>
  <Words>112</Words>
  <Application>Microsoft Office PowerPoint</Application>
  <PresentationFormat>On-screen Show (4:3)</PresentationFormat>
  <Paragraphs>20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ourier New</vt:lpstr>
      <vt:lpstr>Gill Sans MT</vt:lpstr>
      <vt:lpstr>Palatino Linotype</vt:lpstr>
      <vt:lpstr>Wingdings</vt:lpstr>
      <vt:lpstr>Office Theme</vt:lpstr>
      <vt:lpstr>Navigant</vt:lpstr>
      <vt:lpstr>think-cell Slide</vt:lpstr>
      <vt:lpstr>GFHS: financing for resilient urban infrastructure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EP FI MEMBERS’ NEW YEAR WEBINAR 2018</dc:title>
  <dc:creator>Geneva Damayanti</dc:creator>
  <cp:lastModifiedBy>Matt</cp:lastModifiedBy>
  <cp:revision>353</cp:revision>
  <cp:lastPrinted>2019-12-13T02:47:05Z</cp:lastPrinted>
  <dcterms:created xsi:type="dcterms:W3CDTF">2018-01-18T15:49:41Z</dcterms:created>
  <dcterms:modified xsi:type="dcterms:W3CDTF">2020-10-09T22:03:52Z</dcterms:modified>
</cp:coreProperties>
</file>